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6.xml" ContentType="application/vnd.openxmlformats-officedocument.presentationml.tags+xml"/>
  <Override PartName="/ppt/notesSlides/notesSlide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7.xml" ContentType="application/vnd.openxmlformats-officedocument.presentationml.tags+xml"/>
  <Override PartName="/ppt/notesSlides/notesSlide5.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drawings/drawing1.xml" ContentType="application/vnd.openxmlformats-officedocument.drawingml.chartshapes+xml"/>
  <Override PartName="/ppt/tags/tag8.xml" ContentType="application/vnd.openxmlformats-officedocument.presentationml.tags+xml"/>
  <Override PartName="/ppt/notesSlides/notesSlide6.xml" ContentType="application/vnd.openxmlformats-officedocument.presentationml.notesSlide+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tags/tag9.xml" ContentType="application/vnd.openxmlformats-officedocument.presentationml.tags+xml"/>
  <Override PartName="/ppt/notesSlides/notesSlide7.xml" ContentType="application/vnd.openxmlformats-officedocument.presentationml.notesSlid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8.xml" ContentType="application/vnd.openxmlformats-officedocument.presentationml.notesSlide+xml"/>
  <Override PartName="/ppt/charts/chart9.xml" ContentType="application/vnd.openxmlformats-officedocument.drawingml.chart+xml"/>
  <Override PartName="/ppt/charts/style7.xml" ContentType="application/vnd.ms-office.chartstyle+xml"/>
  <Override PartName="/ppt/charts/colors7.xml" ContentType="application/vnd.ms-office.chartcolorstyle+xml"/>
  <Override PartName="/ppt/charts/chart10.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9.xml" ContentType="application/vnd.openxmlformats-officedocument.presentationml.notesSlide+xml"/>
  <Override PartName="/ppt/charts/chart11.xml" ContentType="application/vnd.openxmlformats-officedocument.drawingml.chart+xml"/>
  <Override PartName="/ppt/notesSlides/notesSlide10.xml" ContentType="application/vnd.openxmlformats-officedocument.presentationml.notesSlide+xml"/>
  <Override PartName="/ppt/charts/chart12.xml" ContentType="application/vnd.openxmlformats-officedocument.drawingml.chart+xml"/>
  <Override PartName="/ppt/charts/style9.xml" ContentType="application/vnd.ms-office.chartstyle+xml"/>
  <Override PartName="/ppt/charts/colors9.xml" ContentType="application/vnd.ms-office.chartcolorstyle+xml"/>
  <Override PartName="/ppt/charts/chart13.xml" ContentType="application/vnd.openxmlformats-officedocument.drawingml.chart+xml"/>
  <Override PartName="/ppt/tags/tag10.xml" ContentType="application/vnd.openxmlformats-officedocument.presentationml.tags+xml"/>
  <Override PartName="/ppt/notesSlides/notesSlide11.xml" ContentType="application/vnd.openxmlformats-officedocument.presentationml.notesSlide+xml"/>
  <Override PartName="/ppt/tags/tag11.xml" ContentType="application/vnd.openxmlformats-officedocument.presentationml.tags+xml"/>
  <Override PartName="/ppt/notesSlides/notesSlide1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18"/>
  </p:notesMasterIdLst>
  <p:handoutMasterIdLst>
    <p:handoutMasterId r:id="rId19"/>
  </p:handoutMasterIdLst>
  <p:sldIdLst>
    <p:sldId id="3918" r:id="rId5"/>
    <p:sldId id="2147472333" r:id="rId6"/>
    <p:sldId id="2088197909" r:id="rId7"/>
    <p:sldId id="2147472334" r:id="rId8"/>
    <p:sldId id="4692" r:id="rId9"/>
    <p:sldId id="2088197903" r:id="rId10"/>
    <p:sldId id="2147472305" r:id="rId11"/>
    <p:sldId id="2147472327" r:id="rId12"/>
    <p:sldId id="2147472337" r:id="rId13"/>
    <p:sldId id="2147472335" r:id="rId14"/>
    <p:sldId id="2147472336" r:id="rId15"/>
    <p:sldId id="329" r:id="rId16"/>
    <p:sldId id="263" r:id="rId17"/>
  </p:sldIdLst>
  <p:sldSz cx="12192000" cy="6858000"/>
  <p:notesSz cx="6797675" cy="9928225"/>
  <p:custDataLst>
    <p:tags r:id="rId20"/>
  </p:custDataLst>
  <p:defaultTextStyle>
    <a:defPPr>
      <a:defRPr lang="en-US"/>
    </a:defPPr>
    <a:lvl1pPr marL="0" algn="l" defTabSz="715952" rtl="0" eaLnBrk="1" latinLnBrk="0" hangingPunct="1">
      <a:defRPr sz="1410" kern="1200">
        <a:solidFill>
          <a:schemeClr val="tx1"/>
        </a:solidFill>
        <a:latin typeface="+mn-lt"/>
        <a:ea typeface="+mn-ea"/>
        <a:cs typeface="+mn-cs"/>
      </a:defRPr>
    </a:lvl1pPr>
    <a:lvl2pPr marL="357977" algn="l" defTabSz="715952" rtl="0" eaLnBrk="1" latinLnBrk="0" hangingPunct="1">
      <a:defRPr sz="1410" kern="1200">
        <a:solidFill>
          <a:schemeClr val="tx1"/>
        </a:solidFill>
        <a:latin typeface="+mn-lt"/>
        <a:ea typeface="+mn-ea"/>
        <a:cs typeface="+mn-cs"/>
      </a:defRPr>
    </a:lvl2pPr>
    <a:lvl3pPr marL="715952" algn="l" defTabSz="715952" rtl="0" eaLnBrk="1" latinLnBrk="0" hangingPunct="1">
      <a:defRPr sz="1410" kern="1200">
        <a:solidFill>
          <a:schemeClr val="tx1"/>
        </a:solidFill>
        <a:latin typeface="+mn-lt"/>
        <a:ea typeface="+mn-ea"/>
        <a:cs typeface="+mn-cs"/>
      </a:defRPr>
    </a:lvl3pPr>
    <a:lvl4pPr marL="1073928" algn="l" defTabSz="715952" rtl="0" eaLnBrk="1" latinLnBrk="0" hangingPunct="1">
      <a:defRPr sz="1410" kern="1200">
        <a:solidFill>
          <a:schemeClr val="tx1"/>
        </a:solidFill>
        <a:latin typeface="+mn-lt"/>
        <a:ea typeface="+mn-ea"/>
        <a:cs typeface="+mn-cs"/>
      </a:defRPr>
    </a:lvl4pPr>
    <a:lvl5pPr marL="1431905" algn="l" defTabSz="715952" rtl="0" eaLnBrk="1" latinLnBrk="0" hangingPunct="1">
      <a:defRPr sz="1410" kern="1200">
        <a:solidFill>
          <a:schemeClr val="tx1"/>
        </a:solidFill>
        <a:latin typeface="+mn-lt"/>
        <a:ea typeface="+mn-ea"/>
        <a:cs typeface="+mn-cs"/>
      </a:defRPr>
    </a:lvl5pPr>
    <a:lvl6pPr marL="1789881" algn="l" defTabSz="715952" rtl="0" eaLnBrk="1" latinLnBrk="0" hangingPunct="1">
      <a:defRPr sz="1410" kern="1200">
        <a:solidFill>
          <a:schemeClr val="tx1"/>
        </a:solidFill>
        <a:latin typeface="+mn-lt"/>
        <a:ea typeface="+mn-ea"/>
        <a:cs typeface="+mn-cs"/>
      </a:defRPr>
    </a:lvl6pPr>
    <a:lvl7pPr marL="2147856" algn="l" defTabSz="715952" rtl="0" eaLnBrk="1" latinLnBrk="0" hangingPunct="1">
      <a:defRPr sz="1410" kern="1200">
        <a:solidFill>
          <a:schemeClr val="tx1"/>
        </a:solidFill>
        <a:latin typeface="+mn-lt"/>
        <a:ea typeface="+mn-ea"/>
        <a:cs typeface="+mn-cs"/>
      </a:defRPr>
    </a:lvl7pPr>
    <a:lvl8pPr marL="2505832" algn="l" defTabSz="715952" rtl="0" eaLnBrk="1" latinLnBrk="0" hangingPunct="1">
      <a:defRPr sz="1410" kern="1200">
        <a:solidFill>
          <a:schemeClr val="tx1"/>
        </a:solidFill>
        <a:latin typeface="+mn-lt"/>
        <a:ea typeface="+mn-ea"/>
        <a:cs typeface="+mn-cs"/>
      </a:defRPr>
    </a:lvl8pPr>
    <a:lvl9pPr marL="2863809" algn="l" defTabSz="715952" rtl="0" eaLnBrk="1" latinLnBrk="0" hangingPunct="1">
      <a:defRPr sz="1410" kern="1200">
        <a:solidFill>
          <a:schemeClr val="tx1"/>
        </a:solidFill>
        <a:latin typeface="+mn-lt"/>
        <a:ea typeface="+mn-ea"/>
        <a:cs typeface="+mn-cs"/>
      </a:defRPr>
    </a:lvl9pPr>
  </p:defaultTextStyle>
  <p:extLst>
    <p:ext uri="{EFAFB233-063F-42B5-8137-9DF3F51BA10A}">
      <p15:sldGuideLst xmlns:p15="http://schemas.microsoft.com/office/powerpoint/2012/main">
        <p15:guide id="10" pos="12" userDrawn="1">
          <p15:clr>
            <a:srgbClr val="A4A3A4"/>
          </p15:clr>
        </p15:guide>
        <p15:guide id="11" orient="horz" pos="2136" userDrawn="1">
          <p15:clr>
            <a:srgbClr val="A4A3A4"/>
          </p15:clr>
        </p15:guide>
        <p15:guide id="12" orient="horz" pos="1625" userDrawn="1">
          <p15:clr>
            <a:srgbClr val="A4A3A4"/>
          </p15:clr>
        </p15:guide>
        <p15:guide id="13" orient="horz" pos="2634" userDrawn="1">
          <p15:clr>
            <a:srgbClr val="A4A3A4"/>
          </p15:clr>
        </p15:guide>
        <p15:guide id="14" orient="horz" pos="3148"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A48F222-D39B-4B54-9C90-3B4DB73D3520}" name="Shannon Cutter" initials="SC" userId="S::scutter@deloitte.com.au::43959e32-f43a-4fe2-abda-13b188882612" providerId="AD"/>
  <p188:author id="{1A6B673D-1C8E-6F87-5CEB-A26F51366EA9}" name="Rumbens, David" initials="RD" userId="S::drumbens@deloitte.com.au::a122bfb2-a3b9-4382-b593-bad008442967" providerId="AD"/>
  <p188:author id="{44094641-E735-9C87-1CEA-9887801565DA}" name="Shi, Michelle" initials="SM" userId="S::mishi@deloitte.com.au::717a2d41-e393-4d4a-8935-51d5c117f2e1" providerId="AD"/>
  <p188:author id="{2CCA3650-94BA-465F-7AC6-0964F7D274E6}" name="Guthrie, Sam" initials="GS" userId="S::sguthrie@deloitte.com.au::653c6e3e-6020-4df7-bbcd-cbaf618ef48f" providerId="AD"/>
  <p188:author id="{D27AE45C-C432-E27C-7944-5E7A26C20A11}" name="Kelly, Daniel" initials="KD" userId="S::dankelly@deloitte.com.au::d7f625fb-6eda-4f84-b654-aaa30b88fc2d" providerId="AD"/>
  <p188:author id="{B4A781AC-53AE-36A4-33A8-0BC7054B67A6}" name="Bates, Chris" initials="CB" userId="S::chribates@deloitte.com.au::b80d3167-a847-45cc-8bdd-61c27ee66500" providerId="AD"/>
  <p188:author id="{47C696EE-7706-D6EF-C858-0DC06566580B}" name="Kerrigan, Amy" initials="KA" userId="S::akerrigan@deloitte.com.au::be723496-d5f3-42cc-8b9f-3f0f6bc665e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caife, Alex" initials="SA" lastIdx="1" clrIdx="0">
    <p:extLst>
      <p:ext uri="{19B8F6BF-5375-455C-9EA6-DF929625EA0E}">
        <p15:presenceInfo xmlns:p15="http://schemas.microsoft.com/office/powerpoint/2012/main" userId="S::ascaife@deloitte.com.au::4f336cfd-68f5-4fd2-b3ff-6506b423f619" providerId="AD"/>
      </p:ext>
    </p:extLst>
  </p:cmAuthor>
  <p:cmAuthor id="2" name="Smith, Stephen" initials="SS" lastIdx="17" clrIdx="1">
    <p:extLst>
      <p:ext uri="{19B8F6BF-5375-455C-9EA6-DF929625EA0E}">
        <p15:presenceInfo xmlns:p15="http://schemas.microsoft.com/office/powerpoint/2012/main" userId="S::stephensmith1@deloitte.com.au::4226dc61-36d1-4b10-b71c-6e0dac4087b8" providerId="AD"/>
      </p:ext>
    </p:extLst>
  </p:cmAuthor>
  <p:cmAuthor id="3" name="Lee, Cathryn" initials="CL" lastIdx="25" clrIdx="2">
    <p:extLst>
      <p:ext uri="{19B8F6BF-5375-455C-9EA6-DF929625EA0E}">
        <p15:presenceInfo xmlns:p15="http://schemas.microsoft.com/office/powerpoint/2012/main" userId="Lee, Cathryn" providerId="None"/>
      </p:ext>
    </p:extLst>
  </p:cmAuthor>
  <p:cmAuthor id="4" name="Underwood, Sheraan" initials="US" lastIdx="3" clrIdx="3">
    <p:extLst>
      <p:ext uri="{19B8F6BF-5375-455C-9EA6-DF929625EA0E}">
        <p15:presenceInfo xmlns:p15="http://schemas.microsoft.com/office/powerpoint/2012/main" userId="S::shunderwood@deloitte.com.au::6917d631-60dc-41c2-85fa-91e2467b84b6" providerId="AD"/>
      </p:ext>
    </p:extLst>
  </p:cmAuthor>
  <p:cmAuthor id="5" name="Boone, Chelsea" initials="BC" lastIdx="28" clrIdx="4">
    <p:extLst>
      <p:ext uri="{19B8F6BF-5375-455C-9EA6-DF929625EA0E}">
        <p15:presenceInfo xmlns:p15="http://schemas.microsoft.com/office/powerpoint/2012/main" userId="S::chboone@deloitte.com.au::ba0cbf9d-0b5c-4ed2-9125-1c0f2473b2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E4E5"/>
    <a:srgbClr val="FBFBFB"/>
    <a:srgbClr val="0076A8"/>
    <a:srgbClr val="595959"/>
    <a:srgbClr val="ACAEB0"/>
    <a:srgbClr val="002776"/>
    <a:srgbClr val="D9D9D9"/>
    <a:srgbClr val="FFF30D"/>
    <a:srgbClr val="046A38"/>
    <a:srgbClr val="62B5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B8248E7-E6A5-4D98-B623-44ED0ABF53E3}" v="1156" dt="2024-11-12T05:27:41.528"/>
    <p1510:client id="{2CB87C43-E948-48C6-9EAB-01B18394228A}" v="10" dt="2024-11-12T05:54:28.27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22" d="100"/>
          <a:sy n="122" d="100"/>
        </p:scale>
        <p:origin x="114" y="102"/>
      </p:cViewPr>
      <p:guideLst>
        <p:guide pos="12"/>
        <p:guide orient="horz" pos="2136"/>
        <p:guide orient="horz" pos="1625"/>
        <p:guide orient="horz" pos="2634"/>
        <p:guide orient="horz" pos="3148"/>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 Id="rId27" Type="http://schemas.microsoft.com/office/2018/10/relationships/authors" Target="authors.xml"/></Relationships>
</file>

<file path=ppt/charts/_rels/chart1.xml.rels><?xml version="1.0" encoding="UTF-8" standalone="yes"?>
<Relationships xmlns="http://schemas.openxmlformats.org/package/2006/relationships"><Relationship Id="rId3" Type="http://schemas.openxmlformats.org/officeDocument/2006/relationships/oleObject" Target="https://ausdeloitte.sharepoint.com/sites/RetailForecastsPublication/Shared%20Documents/General/Retail%20workbook%20September%202024.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C:\Users\chribates\AppData\Local\Temp\MicrosoftEdgeDownloads\840ebd77-3f42-44d4-9d7a-bd3f48080c32\01.%20Financial%20wellbeing%20Index.xlsx" TargetMode="External"/><Relationship Id="rId2" Type="http://schemas.microsoft.com/office/2011/relationships/chartColorStyle" Target="colors8.xml"/><Relationship Id="rId1" Type="http://schemas.microsoft.com/office/2011/relationships/chartStyle" Target="style8.xml"/></Relationships>
</file>

<file path=ppt/charts/_rels/chart11.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12.xml.rels><?xml version="1.0" encoding="UTF-8" standalone="yes"?>
<Relationships xmlns="http://schemas.openxmlformats.org/package/2006/relationships"><Relationship Id="rId3" Type="http://schemas.openxmlformats.org/officeDocument/2006/relationships/oleObject" Target="file:///C:\Users\chribates\AppData\Local\Temp\MicrosoftEdgeDownloads\840ebd77-3f42-44d4-9d7a-bd3f48080c32\01.%20Financial%20wellbeing%20Index.xlsx" TargetMode="External"/><Relationship Id="rId2" Type="http://schemas.microsoft.com/office/2011/relationships/chartColorStyle" Target="colors9.xml"/><Relationship Id="rId1" Type="http://schemas.microsoft.com/office/2011/relationships/chartStyle" Target="style9.xml"/></Relationships>
</file>

<file path=ppt/charts/_rels/chart13.xml.rels><?xml version="1.0" encoding="UTF-8" standalone="yes"?>
<Relationships xmlns="http://schemas.openxmlformats.org/package/2006/relationships"><Relationship Id="rId1" Type="http://schemas.openxmlformats.org/officeDocument/2006/relationships/oleObject" Target="https://ausdeloitte.sharepoint.com/sites/ARAexpertwitness/Shared%20Documents/General/Data/B.%20The%20current%20performance%20of%20the%20Australian%20retail%20sector/4.8%20-%204.12.xlsx" TargetMode="External"/></Relationships>
</file>

<file path=ppt/charts/_rels/chart2.xml.rels><?xml version="1.0" encoding="UTF-8" standalone="yes"?>
<Relationships xmlns="http://schemas.openxmlformats.org/package/2006/relationships"><Relationship Id="rId3" Type="http://schemas.openxmlformats.org/officeDocument/2006/relationships/oleObject" Target="https://ausdeloitte.sharepoint.com/sites/RetailForecastsPublication/Shared%20Documents/General/Retail%20workbook%20September%202024.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ausdeloitte.sharepoint.com/sites/DAEMacro603/Shared%20Documents/General/Presentations/24-09-05%20Wesfarmers%20chartbook.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oleObject" Target="https://ausdeloitte.sharepoint.com/sites/RetailForecastsPublication/Shared%20Documents/General/2.%20Modelling/2024Q3/Retail%20-%20checking%20(charts%20and%20growth%20tables)%20Q3%202024.xlsx" TargetMode="External"/></Relationships>
</file>

<file path=ppt/charts/_rels/chart5.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https://ausdeloitte.sharepoint.com/sites/RetailForecastsPublication/Shared%20Documents/General/3.%20Report/2024Q3/Retail%20Forecasts%20August%202024.xlsx" TargetMode="External"/></Relationships>
</file>

<file path=ppt/charts/_rels/chart6.xml.rels><?xml version="1.0" encoding="UTF-8" standalone="yes"?>
<Relationships xmlns="http://schemas.openxmlformats.org/package/2006/relationships"><Relationship Id="rId3" Type="http://schemas.openxmlformats.org/officeDocument/2006/relationships/oleObject" Target="file:///C:\Users\chribates\AppData\Local\Temp\MicrosoftEdgeDownloads\840ebd77-3f42-44d4-9d7a-bd3f48080c32\01.%20Financial%20wellbeing%20Index.xlsx" TargetMode="External"/><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oleObject" Target="file:///C:\Users\sdavidson\Downloads\Retail%20Forecasts%20June%202024.xlsx" TargetMode="External"/><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3" Type="http://schemas.openxmlformats.org/officeDocument/2006/relationships/oleObject" Target="file:///C:\Users\sdavidson\Downloads\Retail%20Forecasts%20June%202024.xlsx" TargetMode="External"/><Relationship Id="rId2" Type="http://schemas.microsoft.com/office/2011/relationships/chartColorStyle" Target="colors6.xml"/><Relationship Id="rId1" Type="http://schemas.microsoft.com/office/2011/relationships/chartStyle" Target="style6.xml"/></Relationships>
</file>

<file path=ppt/charts/_rels/chart9.xml.rels><?xml version="1.0" encoding="UTF-8" standalone="yes"?>
<Relationships xmlns="http://schemas.openxmlformats.org/package/2006/relationships"><Relationship Id="rId3" Type="http://schemas.openxmlformats.org/officeDocument/2006/relationships/oleObject" Target="file:///C:\Users\chribates\AppData\Local\Temp\MicrosoftEdgeDownloads\840ebd77-3f42-44d4-9d7a-bd3f48080c32\01.%20Financial%20wellbeing%20Index.xlsx" TargetMode="External"/><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025727902455639"/>
          <c:y val="5.4815636915832591E-2"/>
          <c:w val="0.86350472702473835"/>
          <c:h val="0.71678750000000002"/>
        </c:manualLayout>
      </c:layout>
      <c:lineChart>
        <c:grouping val="standard"/>
        <c:varyColors val="0"/>
        <c:ser>
          <c:idx val="0"/>
          <c:order val="0"/>
          <c:tx>
            <c:strRef>
              <c:f>'[Retail workbook September 2024.xlsx]CPI'!$B$99</c:f>
              <c:strCache>
                <c:ptCount val="1"/>
                <c:pt idx="0">
                  <c:v>Goods</c:v>
                </c:pt>
              </c:strCache>
            </c:strRef>
          </c:tx>
          <c:spPr>
            <a:ln w="28575" cap="rnd">
              <a:solidFill>
                <a:srgbClr val="0076A8"/>
              </a:solidFill>
              <a:round/>
            </a:ln>
            <a:effectLst/>
          </c:spPr>
          <c:marker>
            <c:symbol val="none"/>
          </c:marker>
          <c:cat>
            <c:numRef>
              <c:f>'[Retail workbook September 2024.xlsx]CPI'!$C$95:$W$95</c:f>
              <c:numCache>
                <c:formatCode>mmm\ yy</c:formatCode>
                <c:ptCount val="21"/>
                <c:pt idx="0">
                  <c:v>43709</c:v>
                </c:pt>
                <c:pt idx="1">
                  <c:v>43800</c:v>
                </c:pt>
                <c:pt idx="2">
                  <c:v>43891</c:v>
                </c:pt>
                <c:pt idx="3">
                  <c:v>43983</c:v>
                </c:pt>
                <c:pt idx="4">
                  <c:v>44075</c:v>
                </c:pt>
                <c:pt idx="5">
                  <c:v>44166</c:v>
                </c:pt>
                <c:pt idx="6">
                  <c:v>44256</c:v>
                </c:pt>
                <c:pt idx="7">
                  <c:v>44348</c:v>
                </c:pt>
                <c:pt idx="8">
                  <c:v>44440</c:v>
                </c:pt>
                <c:pt idx="9">
                  <c:v>44531</c:v>
                </c:pt>
                <c:pt idx="10">
                  <c:v>44621</c:v>
                </c:pt>
                <c:pt idx="11">
                  <c:v>44713</c:v>
                </c:pt>
                <c:pt idx="12">
                  <c:v>44805</c:v>
                </c:pt>
                <c:pt idx="13">
                  <c:v>44896</c:v>
                </c:pt>
                <c:pt idx="14">
                  <c:v>44986</c:v>
                </c:pt>
                <c:pt idx="15">
                  <c:v>45078</c:v>
                </c:pt>
                <c:pt idx="16">
                  <c:v>45170</c:v>
                </c:pt>
                <c:pt idx="17">
                  <c:v>45261</c:v>
                </c:pt>
                <c:pt idx="18">
                  <c:v>45352</c:v>
                </c:pt>
                <c:pt idx="19">
                  <c:v>45444</c:v>
                </c:pt>
                <c:pt idx="20">
                  <c:v>45536</c:v>
                </c:pt>
              </c:numCache>
            </c:numRef>
          </c:cat>
          <c:val>
            <c:numRef>
              <c:f>'[Retail workbook September 2024.xlsx]CPI'!$C$99:$W$99</c:f>
              <c:numCache>
                <c:formatCode>0.0%</c:formatCode>
                <c:ptCount val="21"/>
                <c:pt idx="0">
                  <c:v>1.4999999999999999E-2</c:v>
                </c:pt>
                <c:pt idx="1">
                  <c:v>1.9E-2</c:v>
                </c:pt>
                <c:pt idx="2">
                  <c:v>2.7000000000000003E-2</c:v>
                </c:pt>
                <c:pt idx="3">
                  <c:v>1.3000000000000001E-2</c:v>
                </c:pt>
                <c:pt idx="4">
                  <c:v>1.8000000000000002E-2</c:v>
                </c:pt>
                <c:pt idx="5">
                  <c:v>1.1000000000000001E-2</c:v>
                </c:pt>
                <c:pt idx="6">
                  <c:v>1.1000000000000001E-2</c:v>
                </c:pt>
                <c:pt idx="7">
                  <c:v>2.7999999999999997E-2</c:v>
                </c:pt>
                <c:pt idx="8">
                  <c:v>2.7999999999999997E-2</c:v>
                </c:pt>
                <c:pt idx="9">
                  <c:v>4.2999999999999997E-2</c:v>
                </c:pt>
                <c:pt idx="10">
                  <c:v>6.6000000000000003E-2</c:v>
                </c:pt>
                <c:pt idx="11">
                  <c:v>8.4000000000000005E-2</c:v>
                </c:pt>
                <c:pt idx="12">
                  <c:v>9.6000000000000002E-2</c:v>
                </c:pt>
                <c:pt idx="13">
                  <c:v>9.5000000000000001E-2</c:v>
                </c:pt>
                <c:pt idx="14">
                  <c:v>7.5999999999999998E-2</c:v>
                </c:pt>
                <c:pt idx="15">
                  <c:v>5.7999999999999996E-2</c:v>
                </c:pt>
                <c:pt idx="16">
                  <c:v>4.9000000000000002E-2</c:v>
                </c:pt>
                <c:pt idx="17">
                  <c:v>3.7999999999999999E-2</c:v>
                </c:pt>
                <c:pt idx="18">
                  <c:v>3.1E-2</c:v>
                </c:pt>
                <c:pt idx="19">
                  <c:v>3.2000000000000001E-2</c:v>
                </c:pt>
                <c:pt idx="20">
                  <c:v>1.3999999999999999E-2</c:v>
                </c:pt>
              </c:numCache>
            </c:numRef>
          </c:val>
          <c:smooth val="0"/>
          <c:extLst>
            <c:ext xmlns:c16="http://schemas.microsoft.com/office/drawing/2014/chart" uri="{C3380CC4-5D6E-409C-BE32-E72D297353CC}">
              <c16:uniqueId val="{00000000-32D9-4A44-8825-2AD1150040F6}"/>
            </c:ext>
          </c:extLst>
        </c:ser>
        <c:ser>
          <c:idx val="1"/>
          <c:order val="1"/>
          <c:tx>
            <c:strRef>
              <c:f>'[Retail workbook September 2024.xlsx]CPI'!$B$100</c:f>
              <c:strCache>
                <c:ptCount val="1"/>
                <c:pt idx="0">
                  <c:v>Services</c:v>
                </c:pt>
              </c:strCache>
            </c:strRef>
          </c:tx>
          <c:spPr>
            <a:ln w="28575" cap="rnd">
              <a:solidFill>
                <a:srgbClr val="A7A8AA"/>
              </a:solidFill>
              <a:round/>
            </a:ln>
            <a:effectLst/>
          </c:spPr>
          <c:marker>
            <c:symbol val="none"/>
          </c:marker>
          <c:cat>
            <c:numRef>
              <c:f>'[Retail workbook September 2024.xlsx]CPI'!$C$95:$W$95</c:f>
              <c:numCache>
                <c:formatCode>mmm\ yy</c:formatCode>
                <c:ptCount val="21"/>
                <c:pt idx="0">
                  <c:v>43709</c:v>
                </c:pt>
                <c:pt idx="1">
                  <c:v>43800</c:v>
                </c:pt>
                <c:pt idx="2">
                  <c:v>43891</c:v>
                </c:pt>
                <c:pt idx="3">
                  <c:v>43983</c:v>
                </c:pt>
                <c:pt idx="4">
                  <c:v>44075</c:v>
                </c:pt>
                <c:pt idx="5">
                  <c:v>44166</c:v>
                </c:pt>
                <c:pt idx="6">
                  <c:v>44256</c:v>
                </c:pt>
                <c:pt idx="7">
                  <c:v>44348</c:v>
                </c:pt>
                <c:pt idx="8">
                  <c:v>44440</c:v>
                </c:pt>
                <c:pt idx="9">
                  <c:v>44531</c:v>
                </c:pt>
                <c:pt idx="10">
                  <c:v>44621</c:v>
                </c:pt>
                <c:pt idx="11">
                  <c:v>44713</c:v>
                </c:pt>
                <c:pt idx="12">
                  <c:v>44805</c:v>
                </c:pt>
                <c:pt idx="13">
                  <c:v>44896</c:v>
                </c:pt>
                <c:pt idx="14">
                  <c:v>44986</c:v>
                </c:pt>
                <c:pt idx="15">
                  <c:v>45078</c:v>
                </c:pt>
                <c:pt idx="16">
                  <c:v>45170</c:v>
                </c:pt>
                <c:pt idx="17">
                  <c:v>45261</c:v>
                </c:pt>
                <c:pt idx="18">
                  <c:v>45352</c:v>
                </c:pt>
                <c:pt idx="19">
                  <c:v>45444</c:v>
                </c:pt>
                <c:pt idx="20">
                  <c:v>45536</c:v>
                </c:pt>
              </c:numCache>
            </c:numRef>
          </c:cat>
          <c:val>
            <c:numRef>
              <c:f>'[Retail workbook September 2024.xlsx]CPI'!$C$100:$W$100</c:f>
              <c:numCache>
                <c:formatCode>0.0%</c:formatCode>
                <c:ptCount val="21"/>
                <c:pt idx="0">
                  <c:v>1.8000000000000002E-2</c:v>
                </c:pt>
                <c:pt idx="1">
                  <c:v>1.8000000000000002E-2</c:v>
                </c:pt>
                <c:pt idx="2">
                  <c:v>1.8000000000000002E-2</c:v>
                </c:pt>
                <c:pt idx="3">
                  <c:v>-2.2000000000000002E-2</c:v>
                </c:pt>
                <c:pt idx="4">
                  <c:v>-6.0000000000000001E-3</c:v>
                </c:pt>
                <c:pt idx="5">
                  <c:v>8.0000000000000002E-3</c:v>
                </c:pt>
                <c:pt idx="6">
                  <c:v>1.1000000000000001E-2</c:v>
                </c:pt>
                <c:pt idx="7">
                  <c:v>5.0999999999999997E-2</c:v>
                </c:pt>
                <c:pt idx="8">
                  <c:v>3.5000000000000003E-2</c:v>
                </c:pt>
                <c:pt idx="9">
                  <c:v>2.3E-2</c:v>
                </c:pt>
                <c:pt idx="10">
                  <c:v>0.03</c:v>
                </c:pt>
                <c:pt idx="11">
                  <c:v>3.3000000000000002E-2</c:v>
                </c:pt>
                <c:pt idx="12">
                  <c:v>4.0999999999999995E-2</c:v>
                </c:pt>
                <c:pt idx="13">
                  <c:v>5.5E-2</c:v>
                </c:pt>
                <c:pt idx="14">
                  <c:v>6.0999999999999999E-2</c:v>
                </c:pt>
                <c:pt idx="15">
                  <c:v>6.3E-2</c:v>
                </c:pt>
                <c:pt idx="16">
                  <c:v>5.7999999999999996E-2</c:v>
                </c:pt>
                <c:pt idx="17">
                  <c:v>4.5999999999999999E-2</c:v>
                </c:pt>
                <c:pt idx="18">
                  <c:v>4.2999999999999997E-2</c:v>
                </c:pt>
                <c:pt idx="19">
                  <c:v>4.4999999999999998E-2</c:v>
                </c:pt>
                <c:pt idx="20">
                  <c:v>4.5999999999999999E-2</c:v>
                </c:pt>
              </c:numCache>
            </c:numRef>
          </c:val>
          <c:smooth val="0"/>
          <c:extLst>
            <c:ext xmlns:c16="http://schemas.microsoft.com/office/drawing/2014/chart" uri="{C3380CC4-5D6E-409C-BE32-E72D297353CC}">
              <c16:uniqueId val="{00000001-32D9-4A44-8825-2AD1150040F6}"/>
            </c:ext>
          </c:extLst>
        </c:ser>
        <c:dLbls>
          <c:showLegendKey val="0"/>
          <c:showVal val="0"/>
          <c:showCatName val="0"/>
          <c:showSerName val="0"/>
          <c:showPercent val="0"/>
          <c:showBubbleSize val="0"/>
        </c:dLbls>
        <c:smooth val="0"/>
        <c:axId val="973850735"/>
        <c:axId val="973827855"/>
      </c:lineChart>
      <c:dateAx>
        <c:axId val="973850735"/>
        <c:scaling>
          <c:orientation val="minMax"/>
        </c:scaling>
        <c:delete val="0"/>
        <c:axPos val="b"/>
        <c:numFmt formatCode="mmm\ yy" sourceLinked="1"/>
        <c:majorTickMark val="out"/>
        <c:minorTickMark val="none"/>
        <c:tickLblPos val="low"/>
        <c:spPr>
          <a:noFill/>
          <a:ln w="9525" cap="flat" cmpd="sng" algn="ctr">
            <a:solidFill>
              <a:sysClr val="windowText" lastClr="000000"/>
            </a:solidFill>
            <a:round/>
          </a:ln>
          <a:effectLst/>
        </c:spPr>
        <c:txPr>
          <a:bodyPr rot="0" spcFirstLastPara="1" vertOverflow="ellipsis" wrap="square" anchor="ctr" anchorCtr="1"/>
          <a:lstStyle/>
          <a:p>
            <a:pPr>
              <a:defRPr sz="900" b="0" i="0" u="none" strike="noStrike" kern="1200" baseline="0">
                <a:solidFill>
                  <a:sysClr val="windowText" lastClr="000000"/>
                </a:solidFill>
                <a:latin typeface="+mn-lt"/>
                <a:ea typeface="+mn-ea"/>
                <a:cs typeface="+mn-cs"/>
              </a:defRPr>
            </a:pPr>
            <a:endParaRPr lang="en-US"/>
          </a:p>
        </c:txPr>
        <c:crossAx val="973827855"/>
        <c:crosses val="autoZero"/>
        <c:auto val="1"/>
        <c:lblOffset val="100"/>
        <c:baseTimeUnit val="months"/>
        <c:majorUnit val="12"/>
        <c:majorTimeUnit val="months"/>
      </c:dateAx>
      <c:valAx>
        <c:axId val="973827855"/>
        <c:scaling>
          <c:orientation val="minMax"/>
          <c:max val="0.1"/>
        </c:scaling>
        <c:delete val="0"/>
        <c:axPos val="l"/>
        <c:numFmt formatCode="0%" sourceLinked="0"/>
        <c:majorTickMark val="out"/>
        <c:minorTickMark val="none"/>
        <c:tickLblPos val="nextTo"/>
        <c:spPr>
          <a:noFill/>
          <a:ln>
            <a:solidFill>
              <a:sysClr val="windowText" lastClr="000000"/>
            </a:solid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973850735"/>
        <c:crosses val="autoZero"/>
        <c:crossBetween val="midCat"/>
      </c:valAx>
      <c:spPr>
        <a:noFill/>
        <a:ln>
          <a:noFill/>
        </a:ln>
        <a:effectLst/>
      </c:spPr>
    </c:plotArea>
    <c:legend>
      <c:legendPos val="b"/>
      <c:layout>
        <c:manualLayout>
          <c:xMode val="edge"/>
          <c:yMode val="edge"/>
          <c:x val="0.25082325814806317"/>
          <c:y val="0.93484999999999996"/>
          <c:w val="0.51722528624239816"/>
          <c:h val="6.1990998387783922E-2"/>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legend>
    <c:plotVisOnly val="0"/>
    <c:dispBlanksAs val="gap"/>
    <c:showDLblsOverMax val="0"/>
  </c:chart>
  <c:spPr>
    <a:solidFill>
      <a:schemeClr val="bg1"/>
    </a:solidFill>
    <a:ln w="9525" cap="flat" cmpd="sng" algn="ctr">
      <a:noFill/>
      <a:round/>
    </a:ln>
    <a:effectLst/>
  </c:spPr>
  <c:txPr>
    <a:bodyPr/>
    <a:lstStyle/>
    <a:p>
      <a:pPr>
        <a:defRPr>
          <a:solidFill>
            <a:sysClr val="windowText" lastClr="000000"/>
          </a:solidFill>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655262963309764"/>
          <c:y val="4.6791578185813143E-2"/>
          <c:w val="0.84569819693606785"/>
          <c:h val="0.85335847640994378"/>
        </c:manualLayout>
      </c:layout>
      <c:lineChart>
        <c:grouping val="standard"/>
        <c:varyColors val="0"/>
        <c:ser>
          <c:idx val="0"/>
          <c:order val="0"/>
          <c:spPr>
            <a:ln w="28575" cap="rnd">
              <a:solidFill>
                <a:srgbClr val="0076A8"/>
              </a:solidFill>
              <a:round/>
            </a:ln>
            <a:effectLst/>
          </c:spPr>
          <c:marker>
            <c:symbol val="none"/>
          </c:marker>
          <c:cat>
            <c:numRef>
              <c:f>Sheet4!$A$90:$A$130</c:f>
              <c:numCache>
                <c:formatCode>mmm\-yyyy</c:formatCode>
                <c:ptCount val="41"/>
                <c:pt idx="0">
                  <c:v>41791</c:v>
                </c:pt>
                <c:pt idx="1">
                  <c:v>41883</c:v>
                </c:pt>
                <c:pt idx="2">
                  <c:v>41974</c:v>
                </c:pt>
                <c:pt idx="3">
                  <c:v>42064</c:v>
                </c:pt>
                <c:pt idx="4">
                  <c:v>42156</c:v>
                </c:pt>
                <c:pt idx="5">
                  <c:v>42248</c:v>
                </c:pt>
                <c:pt idx="6">
                  <c:v>42339</c:v>
                </c:pt>
                <c:pt idx="7">
                  <c:v>42430</c:v>
                </c:pt>
                <c:pt idx="8">
                  <c:v>42522</c:v>
                </c:pt>
                <c:pt idx="9">
                  <c:v>42614</c:v>
                </c:pt>
                <c:pt idx="10">
                  <c:v>42705</c:v>
                </c:pt>
                <c:pt idx="11">
                  <c:v>42795</c:v>
                </c:pt>
                <c:pt idx="12">
                  <c:v>42887</c:v>
                </c:pt>
                <c:pt idx="13">
                  <c:v>42979</c:v>
                </c:pt>
                <c:pt idx="14">
                  <c:v>43070</c:v>
                </c:pt>
                <c:pt idx="15">
                  <c:v>43160</c:v>
                </c:pt>
                <c:pt idx="16">
                  <c:v>43252</c:v>
                </c:pt>
                <c:pt idx="17">
                  <c:v>43344</c:v>
                </c:pt>
                <c:pt idx="18">
                  <c:v>43435</c:v>
                </c:pt>
                <c:pt idx="19">
                  <c:v>43525</c:v>
                </c:pt>
                <c:pt idx="20">
                  <c:v>43617</c:v>
                </c:pt>
                <c:pt idx="21">
                  <c:v>43709</c:v>
                </c:pt>
                <c:pt idx="22">
                  <c:v>43800</c:v>
                </c:pt>
                <c:pt idx="23">
                  <c:v>43891</c:v>
                </c:pt>
                <c:pt idx="24">
                  <c:v>43983</c:v>
                </c:pt>
                <c:pt idx="25">
                  <c:v>44075</c:v>
                </c:pt>
                <c:pt idx="26">
                  <c:v>44166</c:v>
                </c:pt>
                <c:pt idx="27">
                  <c:v>44256</c:v>
                </c:pt>
                <c:pt idx="28">
                  <c:v>44348</c:v>
                </c:pt>
                <c:pt idx="29">
                  <c:v>44440</c:v>
                </c:pt>
                <c:pt idx="30">
                  <c:v>44531</c:v>
                </c:pt>
                <c:pt idx="31">
                  <c:v>44621</c:v>
                </c:pt>
                <c:pt idx="32">
                  <c:v>44713</c:v>
                </c:pt>
                <c:pt idx="33">
                  <c:v>44805</c:v>
                </c:pt>
                <c:pt idx="34">
                  <c:v>44896</c:v>
                </c:pt>
                <c:pt idx="35">
                  <c:v>44986</c:v>
                </c:pt>
                <c:pt idx="36">
                  <c:v>45078</c:v>
                </c:pt>
                <c:pt idx="37">
                  <c:v>45170</c:v>
                </c:pt>
                <c:pt idx="38">
                  <c:v>45261</c:v>
                </c:pt>
                <c:pt idx="39">
                  <c:v>45352</c:v>
                </c:pt>
                <c:pt idx="40">
                  <c:v>45444</c:v>
                </c:pt>
              </c:numCache>
            </c:numRef>
          </c:cat>
          <c:val>
            <c:numRef>
              <c:f>Sheet4!$I$90:$I$130</c:f>
              <c:numCache>
                <c:formatCode>0.0;\-0.0;0.0;@</c:formatCode>
                <c:ptCount val="41"/>
                <c:pt idx="0">
                  <c:v>1282.0379188464401</c:v>
                </c:pt>
                <c:pt idx="1">
                  <c:v>1280.7823382558299</c:v>
                </c:pt>
                <c:pt idx="2">
                  <c:v>1311.0956218639401</c:v>
                </c:pt>
                <c:pt idx="3">
                  <c:v>1333.3618000326101</c:v>
                </c:pt>
                <c:pt idx="4">
                  <c:v>1311.66844822494</c:v>
                </c:pt>
                <c:pt idx="5">
                  <c:v>1312.9754256117999</c:v>
                </c:pt>
                <c:pt idx="6">
                  <c:v>1313.16492369089</c:v>
                </c:pt>
                <c:pt idx="7">
                  <c:v>1329.0937971639801</c:v>
                </c:pt>
                <c:pt idx="8">
                  <c:v>1341.69731120093</c:v>
                </c:pt>
                <c:pt idx="9">
                  <c:v>1344.1714057762199</c:v>
                </c:pt>
                <c:pt idx="10">
                  <c:v>1349.1237242849099</c:v>
                </c:pt>
                <c:pt idx="11">
                  <c:v>1312.61145855358</c:v>
                </c:pt>
                <c:pt idx="12">
                  <c:v>1314.8564497001501</c:v>
                </c:pt>
                <c:pt idx="13">
                  <c:v>1340.28980235107</c:v>
                </c:pt>
                <c:pt idx="14">
                  <c:v>1323.42197240463</c:v>
                </c:pt>
                <c:pt idx="15">
                  <c:v>1339.85058433223</c:v>
                </c:pt>
                <c:pt idx="16">
                  <c:v>1349.3001312223601</c:v>
                </c:pt>
                <c:pt idx="17">
                  <c:v>1359.6169876638701</c:v>
                </c:pt>
                <c:pt idx="18">
                  <c:v>1366.31907624563</c:v>
                </c:pt>
                <c:pt idx="19">
                  <c:v>1366.3950102275001</c:v>
                </c:pt>
                <c:pt idx="20">
                  <c:v>1354.1779809024499</c:v>
                </c:pt>
                <c:pt idx="21">
                  <c:v>1314.9365068071299</c:v>
                </c:pt>
                <c:pt idx="22">
                  <c:v>1316.4431614375001</c:v>
                </c:pt>
                <c:pt idx="23">
                  <c:v>1331.6314542827499</c:v>
                </c:pt>
                <c:pt idx="24">
                  <c:v>1339.9985755135101</c:v>
                </c:pt>
                <c:pt idx="25">
                  <c:v>1355.29993787587</c:v>
                </c:pt>
                <c:pt idx="26">
                  <c:v>1357.90707206927</c:v>
                </c:pt>
                <c:pt idx="27">
                  <c:v>1343.42827092893</c:v>
                </c:pt>
                <c:pt idx="28">
                  <c:v>1405.9676017219899</c:v>
                </c:pt>
                <c:pt idx="29">
                  <c:v>1359.6865187806</c:v>
                </c:pt>
                <c:pt idx="30">
                  <c:v>1432.53071163813</c:v>
                </c:pt>
                <c:pt idx="31">
                  <c:v>1436.74052741332</c:v>
                </c:pt>
                <c:pt idx="32">
                  <c:v>1441.59864578368</c:v>
                </c:pt>
                <c:pt idx="33">
                  <c:v>1449.6684797447199</c:v>
                </c:pt>
                <c:pt idx="34">
                  <c:v>1454.7275034709</c:v>
                </c:pt>
                <c:pt idx="35">
                  <c:v>1471.5488809942599</c:v>
                </c:pt>
                <c:pt idx="36">
                  <c:v>1453.0739482208501</c:v>
                </c:pt>
                <c:pt idx="37">
                  <c:v>1434.12713167374</c:v>
                </c:pt>
                <c:pt idx="38">
                  <c:v>1432.10742243305</c:v>
                </c:pt>
                <c:pt idx="39">
                  <c:v>1442.3526405730699</c:v>
                </c:pt>
                <c:pt idx="40">
                  <c:v>1480.06015007212</c:v>
                </c:pt>
              </c:numCache>
            </c:numRef>
          </c:val>
          <c:smooth val="0"/>
          <c:extLst>
            <c:ext xmlns:c16="http://schemas.microsoft.com/office/drawing/2014/chart" uri="{C3380CC4-5D6E-409C-BE32-E72D297353CC}">
              <c16:uniqueId val="{00000000-CC50-46B0-8FF6-6C653627148B}"/>
            </c:ext>
          </c:extLst>
        </c:ser>
        <c:dLbls>
          <c:showLegendKey val="0"/>
          <c:showVal val="0"/>
          <c:showCatName val="0"/>
          <c:showSerName val="0"/>
          <c:showPercent val="0"/>
          <c:showBubbleSize val="0"/>
        </c:dLbls>
        <c:smooth val="0"/>
        <c:axId val="362629392"/>
        <c:axId val="362623152"/>
      </c:lineChart>
      <c:dateAx>
        <c:axId val="362629392"/>
        <c:scaling>
          <c:orientation val="minMax"/>
        </c:scaling>
        <c:delete val="0"/>
        <c:axPos val="b"/>
        <c:numFmt formatCode="mmm\-yyyy"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62623152"/>
        <c:crosses val="autoZero"/>
        <c:auto val="1"/>
        <c:lblOffset val="100"/>
        <c:baseTimeUnit val="months"/>
        <c:majorUnit val="24"/>
        <c:majorTimeUnit val="months"/>
      </c:dateAx>
      <c:valAx>
        <c:axId val="362623152"/>
        <c:scaling>
          <c:orientation val="minMax"/>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626293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Book1]Sheet2!$A$2</c:f>
              <c:strCache>
                <c:ptCount val="1"/>
                <c:pt idx="0">
                  <c:v>Retail Trade</c:v>
                </c:pt>
              </c:strCache>
            </c:strRef>
          </c:tx>
          <c:spPr>
            <a:solidFill>
              <a:srgbClr val="0076A8"/>
            </a:solidFill>
            <a:ln w="28575" cap="rnd">
              <a:noFill/>
              <a:round/>
            </a:ln>
            <a:effectLst/>
          </c:spPr>
          <c:invertIfNegative val="0"/>
          <c:cat>
            <c:numRef>
              <c:f>[Book1]Sheet2!$B$1:$E$1</c:f>
              <c:numCache>
                <c:formatCode>General</c:formatCode>
                <c:ptCount val="4"/>
                <c:pt idx="0">
                  <c:v>2021</c:v>
                </c:pt>
                <c:pt idx="1">
                  <c:v>2022</c:v>
                </c:pt>
                <c:pt idx="2">
                  <c:v>2023</c:v>
                </c:pt>
                <c:pt idx="3">
                  <c:v>2024</c:v>
                </c:pt>
              </c:numCache>
            </c:numRef>
          </c:cat>
          <c:val>
            <c:numRef>
              <c:f>[Book1]Sheet2!$B$2:$E$2</c:f>
              <c:numCache>
                <c:formatCode>0%</c:formatCode>
                <c:ptCount val="4"/>
                <c:pt idx="0">
                  <c:v>0.14000000000000001</c:v>
                </c:pt>
                <c:pt idx="1">
                  <c:v>0.42</c:v>
                </c:pt>
                <c:pt idx="2">
                  <c:v>0.46</c:v>
                </c:pt>
                <c:pt idx="3">
                  <c:v>0.19</c:v>
                </c:pt>
              </c:numCache>
            </c:numRef>
          </c:val>
          <c:extLst>
            <c:ext xmlns:c16="http://schemas.microsoft.com/office/drawing/2014/chart" uri="{C3380CC4-5D6E-409C-BE32-E72D297353CC}">
              <c16:uniqueId val="{00000000-475F-44F5-AB67-D852D47E2BFA}"/>
            </c:ext>
          </c:extLst>
        </c:ser>
        <c:ser>
          <c:idx val="1"/>
          <c:order val="1"/>
          <c:tx>
            <c:strRef>
              <c:f>[Book1]Sheet2!$A$3</c:f>
              <c:strCache>
                <c:ptCount val="1"/>
                <c:pt idx="0">
                  <c:v>All occupations</c:v>
                </c:pt>
              </c:strCache>
            </c:strRef>
          </c:tx>
          <c:spPr>
            <a:solidFill>
              <a:srgbClr val="A7A8AA"/>
            </a:solidFill>
            <a:ln>
              <a:noFill/>
            </a:ln>
          </c:spPr>
          <c:invertIfNegative val="0"/>
          <c:cat>
            <c:numRef>
              <c:f>[Book1]Sheet2!$B$1:$E$1</c:f>
              <c:numCache>
                <c:formatCode>General</c:formatCode>
                <c:ptCount val="4"/>
                <c:pt idx="0">
                  <c:v>2021</c:v>
                </c:pt>
                <c:pt idx="1">
                  <c:v>2022</c:v>
                </c:pt>
                <c:pt idx="2">
                  <c:v>2023</c:v>
                </c:pt>
                <c:pt idx="3">
                  <c:v>2024</c:v>
                </c:pt>
              </c:numCache>
            </c:numRef>
          </c:cat>
          <c:val>
            <c:numRef>
              <c:f>[Book1]Sheet2!$B$3:$E$3</c:f>
              <c:numCache>
                <c:formatCode>0%</c:formatCode>
                <c:ptCount val="4"/>
                <c:pt idx="0">
                  <c:v>0.21</c:v>
                </c:pt>
                <c:pt idx="1">
                  <c:v>0.32</c:v>
                </c:pt>
                <c:pt idx="2" formatCode="0.00%">
                  <c:v>0.36199999999999999</c:v>
                </c:pt>
                <c:pt idx="3" formatCode="0.00%">
                  <c:v>0.33100000000000002</c:v>
                </c:pt>
              </c:numCache>
            </c:numRef>
          </c:val>
          <c:extLst>
            <c:ext xmlns:c16="http://schemas.microsoft.com/office/drawing/2014/chart" uri="{C3380CC4-5D6E-409C-BE32-E72D297353CC}">
              <c16:uniqueId val="{00000001-475F-44F5-AB67-D852D47E2BFA}"/>
            </c:ext>
          </c:extLst>
        </c:ser>
        <c:dLbls>
          <c:showLegendKey val="0"/>
          <c:showVal val="0"/>
          <c:showCatName val="0"/>
          <c:showSerName val="0"/>
          <c:showPercent val="0"/>
          <c:showBubbleSize val="0"/>
        </c:dLbls>
        <c:gapWidth val="150"/>
        <c:axId val="285441968"/>
        <c:axId val="285442928"/>
      </c:barChart>
      <c:catAx>
        <c:axId val="285441968"/>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vert="horz"/>
          <a:lstStyle/>
          <a:p>
            <a:pPr>
              <a:defRPr/>
            </a:pPr>
            <a:endParaRPr lang="en-US"/>
          </a:p>
        </c:txPr>
        <c:crossAx val="285442928"/>
        <c:crosses val="autoZero"/>
        <c:auto val="1"/>
        <c:lblAlgn val="ctr"/>
        <c:lblOffset val="100"/>
        <c:noMultiLvlLbl val="0"/>
      </c:catAx>
      <c:valAx>
        <c:axId val="285442928"/>
        <c:scaling>
          <c:orientation val="minMax"/>
        </c:scaling>
        <c:delete val="0"/>
        <c:axPos val="l"/>
        <c:numFmt formatCode="0%" sourceLinked="1"/>
        <c:majorTickMark val="out"/>
        <c:minorTickMark val="none"/>
        <c:tickLblPos val="nextTo"/>
        <c:spPr>
          <a:noFill/>
          <a:ln>
            <a:solidFill>
              <a:schemeClr val="tx1"/>
            </a:solidFill>
          </a:ln>
          <a:effectLst/>
        </c:spPr>
        <c:txPr>
          <a:bodyPr rot="-60000000" vert="horz"/>
          <a:lstStyle/>
          <a:p>
            <a:pPr>
              <a:defRPr/>
            </a:pPr>
            <a:endParaRPr lang="en-US"/>
          </a:p>
        </c:txPr>
        <c:crossAx val="285441968"/>
        <c:crosses val="autoZero"/>
        <c:crossBetween val="between"/>
      </c:valAx>
    </c:plotArea>
    <c:legend>
      <c:legendPos val="b"/>
      <c:overlay val="0"/>
    </c:legend>
    <c:plotVisOnly val="1"/>
    <c:dispBlanksAs val="gap"/>
    <c:showDLblsOverMax val="0"/>
    <c:extLst/>
  </c:chart>
  <c:txPr>
    <a:bodyPr/>
    <a:lstStyle/>
    <a:p>
      <a:pPr>
        <a:defRPr>
          <a:solidFill>
            <a:schemeClr val="tx1"/>
          </a:solidFill>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6!$H$1</c:f>
              <c:strCache>
                <c:ptCount val="1"/>
                <c:pt idx="0">
                  <c:v>All businesses (LHS)</c:v>
                </c:pt>
              </c:strCache>
            </c:strRef>
          </c:tx>
          <c:spPr>
            <a:ln w="28575" cap="rnd">
              <a:solidFill>
                <a:srgbClr val="0076A8"/>
              </a:solidFill>
              <a:round/>
            </a:ln>
            <a:effectLst/>
          </c:spPr>
          <c:marker>
            <c:symbol val="none"/>
          </c:marker>
          <c:cat>
            <c:numRef>
              <c:f>Sheet6!$E$4:$E$40</c:f>
              <c:numCache>
                <c:formatCode>mmm\-yy</c:formatCode>
                <c:ptCount val="37"/>
                <c:pt idx="0">
                  <c:v>44440</c:v>
                </c:pt>
                <c:pt idx="1">
                  <c:v>44470</c:v>
                </c:pt>
                <c:pt idx="2">
                  <c:v>44501</c:v>
                </c:pt>
                <c:pt idx="3">
                  <c:v>44531</c:v>
                </c:pt>
                <c:pt idx="4">
                  <c:v>44562</c:v>
                </c:pt>
                <c:pt idx="5">
                  <c:v>44593</c:v>
                </c:pt>
                <c:pt idx="6">
                  <c:v>44621</c:v>
                </c:pt>
                <c:pt idx="7">
                  <c:v>44652</c:v>
                </c:pt>
                <c:pt idx="8">
                  <c:v>44682</c:v>
                </c:pt>
                <c:pt idx="9">
                  <c:v>44713</c:v>
                </c:pt>
                <c:pt idx="10">
                  <c:v>44743</c:v>
                </c:pt>
                <c:pt idx="11">
                  <c:v>44774</c:v>
                </c:pt>
                <c:pt idx="12">
                  <c:v>44805</c:v>
                </c:pt>
                <c:pt idx="13">
                  <c:v>44835</c:v>
                </c:pt>
                <c:pt idx="14">
                  <c:v>44866</c:v>
                </c:pt>
                <c:pt idx="15">
                  <c:v>44896</c:v>
                </c:pt>
                <c:pt idx="16">
                  <c:v>44927</c:v>
                </c:pt>
                <c:pt idx="17">
                  <c:v>44958</c:v>
                </c:pt>
                <c:pt idx="18">
                  <c:v>44986</c:v>
                </c:pt>
                <c:pt idx="19">
                  <c:v>45017</c:v>
                </c:pt>
                <c:pt idx="20">
                  <c:v>45047</c:v>
                </c:pt>
                <c:pt idx="21">
                  <c:v>45078</c:v>
                </c:pt>
                <c:pt idx="22">
                  <c:v>45108</c:v>
                </c:pt>
                <c:pt idx="23">
                  <c:v>45139</c:v>
                </c:pt>
                <c:pt idx="24">
                  <c:v>45170</c:v>
                </c:pt>
                <c:pt idx="25">
                  <c:v>45200</c:v>
                </c:pt>
                <c:pt idx="26">
                  <c:v>45231</c:v>
                </c:pt>
                <c:pt idx="27">
                  <c:v>45261</c:v>
                </c:pt>
                <c:pt idx="28">
                  <c:v>45292</c:v>
                </c:pt>
                <c:pt idx="29">
                  <c:v>45323</c:v>
                </c:pt>
                <c:pt idx="30">
                  <c:v>45352</c:v>
                </c:pt>
                <c:pt idx="31">
                  <c:v>45383</c:v>
                </c:pt>
                <c:pt idx="32">
                  <c:v>45413</c:v>
                </c:pt>
                <c:pt idx="33">
                  <c:v>45444</c:v>
                </c:pt>
                <c:pt idx="34">
                  <c:v>45474</c:v>
                </c:pt>
                <c:pt idx="35">
                  <c:v>45505</c:v>
                </c:pt>
                <c:pt idx="36">
                  <c:v>45536</c:v>
                </c:pt>
              </c:numCache>
            </c:numRef>
          </c:cat>
          <c:val>
            <c:numRef>
              <c:f>Sheet6!$H$4:$H$40</c:f>
              <c:numCache>
                <c:formatCode>#,##0</c:formatCode>
                <c:ptCount val="37"/>
                <c:pt idx="0">
                  <c:v>1092</c:v>
                </c:pt>
                <c:pt idx="1">
                  <c:v>993</c:v>
                </c:pt>
                <c:pt idx="2">
                  <c:v>1072</c:v>
                </c:pt>
                <c:pt idx="3">
                  <c:v>1177</c:v>
                </c:pt>
                <c:pt idx="4">
                  <c:v>1114</c:v>
                </c:pt>
                <c:pt idx="5">
                  <c:v>1035</c:v>
                </c:pt>
                <c:pt idx="6">
                  <c:v>1080</c:v>
                </c:pt>
                <c:pt idx="7">
                  <c:v>1280</c:v>
                </c:pt>
                <c:pt idx="8">
                  <c:v>1487</c:v>
                </c:pt>
                <c:pt idx="9">
                  <c:v>1563</c:v>
                </c:pt>
                <c:pt idx="10">
                  <c:v>1815</c:v>
                </c:pt>
                <c:pt idx="11">
                  <c:v>1947</c:v>
                </c:pt>
                <c:pt idx="12">
                  <c:v>2050</c:v>
                </c:pt>
                <c:pt idx="13">
                  <c:v>1808</c:v>
                </c:pt>
                <c:pt idx="14">
                  <c:v>1771</c:v>
                </c:pt>
                <c:pt idx="15">
                  <c:v>1753</c:v>
                </c:pt>
                <c:pt idx="16">
                  <c:v>1639</c:v>
                </c:pt>
                <c:pt idx="17">
                  <c:v>1676</c:v>
                </c:pt>
                <c:pt idx="18">
                  <c:v>1881</c:v>
                </c:pt>
                <c:pt idx="19">
                  <c:v>2128</c:v>
                </c:pt>
                <c:pt idx="20">
                  <c:v>2302</c:v>
                </c:pt>
                <c:pt idx="21">
                  <c:v>2258</c:v>
                </c:pt>
                <c:pt idx="22">
                  <c:v>2507</c:v>
                </c:pt>
                <c:pt idx="23">
                  <c:v>2559</c:v>
                </c:pt>
                <c:pt idx="24">
                  <c:v>2495</c:v>
                </c:pt>
                <c:pt idx="25">
                  <c:v>2547</c:v>
                </c:pt>
                <c:pt idx="26">
                  <c:v>2520</c:v>
                </c:pt>
                <c:pt idx="27">
                  <c:v>2593</c:v>
                </c:pt>
                <c:pt idx="28">
                  <c:v>2241</c:v>
                </c:pt>
                <c:pt idx="29">
                  <c:v>2318</c:v>
                </c:pt>
                <c:pt idx="30">
                  <c:v>2660</c:v>
                </c:pt>
                <c:pt idx="31">
                  <c:v>3101</c:v>
                </c:pt>
                <c:pt idx="32">
                  <c:v>3382</c:v>
                </c:pt>
                <c:pt idx="33">
                  <c:v>3305</c:v>
                </c:pt>
                <c:pt idx="34">
                  <c:v>3547</c:v>
                </c:pt>
                <c:pt idx="35">
                  <c:v>3466</c:v>
                </c:pt>
                <c:pt idx="36">
                  <c:v>3633</c:v>
                </c:pt>
              </c:numCache>
            </c:numRef>
          </c:val>
          <c:smooth val="0"/>
          <c:extLst>
            <c:ext xmlns:c16="http://schemas.microsoft.com/office/drawing/2014/chart" uri="{C3380CC4-5D6E-409C-BE32-E72D297353CC}">
              <c16:uniqueId val="{00000000-2221-4C45-95D0-563C2C6C14E4}"/>
            </c:ext>
          </c:extLst>
        </c:ser>
        <c:dLbls>
          <c:showLegendKey val="0"/>
          <c:showVal val="0"/>
          <c:showCatName val="0"/>
          <c:showSerName val="0"/>
          <c:showPercent val="0"/>
          <c:showBubbleSize val="0"/>
        </c:dLbls>
        <c:marker val="1"/>
        <c:smooth val="0"/>
        <c:axId val="448766544"/>
        <c:axId val="448761744"/>
      </c:lineChart>
      <c:lineChart>
        <c:grouping val="standard"/>
        <c:varyColors val="0"/>
        <c:ser>
          <c:idx val="1"/>
          <c:order val="1"/>
          <c:tx>
            <c:strRef>
              <c:f>Sheet6!$I$1</c:f>
              <c:strCache>
                <c:ptCount val="1"/>
                <c:pt idx="0">
                  <c:v>Retail trade (RHS)</c:v>
                </c:pt>
              </c:strCache>
            </c:strRef>
          </c:tx>
          <c:spPr>
            <a:ln w="28575" cap="rnd">
              <a:solidFill>
                <a:srgbClr val="A7A8AA"/>
              </a:solidFill>
              <a:round/>
            </a:ln>
            <a:effectLst/>
          </c:spPr>
          <c:marker>
            <c:symbol val="none"/>
          </c:marker>
          <c:cat>
            <c:numRef>
              <c:f>Sheet6!$E$4:$E$40</c:f>
              <c:numCache>
                <c:formatCode>mmm\-yy</c:formatCode>
                <c:ptCount val="37"/>
                <c:pt idx="0">
                  <c:v>44440</c:v>
                </c:pt>
                <c:pt idx="1">
                  <c:v>44470</c:v>
                </c:pt>
                <c:pt idx="2">
                  <c:v>44501</c:v>
                </c:pt>
                <c:pt idx="3">
                  <c:v>44531</c:v>
                </c:pt>
                <c:pt idx="4">
                  <c:v>44562</c:v>
                </c:pt>
                <c:pt idx="5">
                  <c:v>44593</c:v>
                </c:pt>
                <c:pt idx="6">
                  <c:v>44621</c:v>
                </c:pt>
                <c:pt idx="7">
                  <c:v>44652</c:v>
                </c:pt>
                <c:pt idx="8">
                  <c:v>44682</c:v>
                </c:pt>
                <c:pt idx="9">
                  <c:v>44713</c:v>
                </c:pt>
                <c:pt idx="10">
                  <c:v>44743</c:v>
                </c:pt>
                <c:pt idx="11">
                  <c:v>44774</c:v>
                </c:pt>
                <c:pt idx="12">
                  <c:v>44805</c:v>
                </c:pt>
                <c:pt idx="13">
                  <c:v>44835</c:v>
                </c:pt>
                <c:pt idx="14">
                  <c:v>44866</c:v>
                </c:pt>
                <c:pt idx="15">
                  <c:v>44896</c:v>
                </c:pt>
                <c:pt idx="16">
                  <c:v>44927</c:v>
                </c:pt>
                <c:pt idx="17">
                  <c:v>44958</c:v>
                </c:pt>
                <c:pt idx="18">
                  <c:v>44986</c:v>
                </c:pt>
                <c:pt idx="19">
                  <c:v>45017</c:v>
                </c:pt>
                <c:pt idx="20">
                  <c:v>45047</c:v>
                </c:pt>
                <c:pt idx="21">
                  <c:v>45078</c:v>
                </c:pt>
                <c:pt idx="22">
                  <c:v>45108</c:v>
                </c:pt>
                <c:pt idx="23">
                  <c:v>45139</c:v>
                </c:pt>
                <c:pt idx="24">
                  <c:v>45170</c:v>
                </c:pt>
                <c:pt idx="25">
                  <c:v>45200</c:v>
                </c:pt>
                <c:pt idx="26">
                  <c:v>45231</c:v>
                </c:pt>
                <c:pt idx="27">
                  <c:v>45261</c:v>
                </c:pt>
                <c:pt idx="28">
                  <c:v>45292</c:v>
                </c:pt>
                <c:pt idx="29">
                  <c:v>45323</c:v>
                </c:pt>
                <c:pt idx="30">
                  <c:v>45352</c:v>
                </c:pt>
                <c:pt idx="31">
                  <c:v>45383</c:v>
                </c:pt>
                <c:pt idx="32">
                  <c:v>45413</c:v>
                </c:pt>
                <c:pt idx="33">
                  <c:v>45444</c:v>
                </c:pt>
                <c:pt idx="34">
                  <c:v>45474</c:v>
                </c:pt>
                <c:pt idx="35">
                  <c:v>45505</c:v>
                </c:pt>
                <c:pt idx="36">
                  <c:v>45536</c:v>
                </c:pt>
              </c:numCache>
            </c:numRef>
          </c:cat>
          <c:val>
            <c:numRef>
              <c:f>Sheet6!$I$4:$I$40</c:f>
              <c:numCache>
                <c:formatCode>#,##0</c:formatCode>
                <c:ptCount val="37"/>
                <c:pt idx="0">
                  <c:v>63</c:v>
                </c:pt>
                <c:pt idx="1">
                  <c:v>71</c:v>
                </c:pt>
                <c:pt idx="2">
                  <c:v>62</c:v>
                </c:pt>
                <c:pt idx="3">
                  <c:v>71</c:v>
                </c:pt>
                <c:pt idx="4">
                  <c:v>64</c:v>
                </c:pt>
                <c:pt idx="5">
                  <c:v>68</c:v>
                </c:pt>
                <c:pt idx="6">
                  <c:v>74</c:v>
                </c:pt>
                <c:pt idx="7">
                  <c:v>79</c:v>
                </c:pt>
                <c:pt idx="8">
                  <c:v>99</c:v>
                </c:pt>
                <c:pt idx="9">
                  <c:v>111</c:v>
                </c:pt>
                <c:pt idx="10">
                  <c:v>117</c:v>
                </c:pt>
                <c:pt idx="11">
                  <c:v>123</c:v>
                </c:pt>
                <c:pt idx="12">
                  <c:v>127</c:v>
                </c:pt>
                <c:pt idx="13">
                  <c:v>134</c:v>
                </c:pt>
                <c:pt idx="14">
                  <c:v>136</c:v>
                </c:pt>
                <c:pt idx="15">
                  <c:v>121</c:v>
                </c:pt>
                <c:pt idx="16">
                  <c:v>112</c:v>
                </c:pt>
                <c:pt idx="17">
                  <c:v>92</c:v>
                </c:pt>
                <c:pt idx="18">
                  <c:v>126</c:v>
                </c:pt>
                <c:pt idx="19">
                  <c:v>151</c:v>
                </c:pt>
                <c:pt idx="20">
                  <c:v>178</c:v>
                </c:pt>
                <c:pt idx="21">
                  <c:v>166</c:v>
                </c:pt>
                <c:pt idx="22">
                  <c:v>173</c:v>
                </c:pt>
                <c:pt idx="23">
                  <c:v>193</c:v>
                </c:pt>
                <c:pt idx="24">
                  <c:v>180</c:v>
                </c:pt>
                <c:pt idx="25">
                  <c:v>194</c:v>
                </c:pt>
                <c:pt idx="26">
                  <c:v>172</c:v>
                </c:pt>
                <c:pt idx="27">
                  <c:v>178</c:v>
                </c:pt>
                <c:pt idx="28">
                  <c:v>148</c:v>
                </c:pt>
                <c:pt idx="29">
                  <c:v>154</c:v>
                </c:pt>
                <c:pt idx="30">
                  <c:v>179</c:v>
                </c:pt>
                <c:pt idx="31">
                  <c:v>193</c:v>
                </c:pt>
                <c:pt idx="32">
                  <c:v>224</c:v>
                </c:pt>
                <c:pt idx="33">
                  <c:v>231</c:v>
                </c:pt>
                <c:pt idx="34">
                  <c:v>252</c:v>
                </c:pt>
                <c:pt idx="35">
                  <c:v>232</c:v>
                </c:pt>
                <c:pt idx="36">
                  <c:v>204</c:v>
                </c:pt>
              </c:numCache>
            </c:numRef>
          </c:val>
          <c:smooth val="0"/>
          <c:extLst>
            <c:ext xmlns:c16="http://schemas.microsoft.com/office/drawing/2014/chart" uri="{C3380CC4-5D6E-409C-BE32-E72D297353CC}">
              <c16:uniqueId val="{00000001-2221-4C45-95D0-563C2C6C14E4}"/>
            </c:ext>
          </c:extLst>
        </c:ser>
        <c:dLbls>
          <c:showLegendKey val="0"/>
          <c:showVal val="0"/>
          <c:showCatName val="0"/>
          <c:showSerName val="0"/>
          <c:showPercent val="0"/>
          <c:showBubbleSize val="0"/>
        </c:dLbls>
        <c:marker val="1"/>
        <c:smooth val="0"/>
        <c:axId val="448772304"/>
        <c:axId val="448773744"/>
      </c:lineChart>
      <c:dateAx>
        <c:axId val="448766544"/>
        <c:scaling>
          <c:orientation val="minMax"/>
        </c:scaling>
        <c:delete val="0"/>
        <c:axPos val="b"/>
        <c:numFmt formatCode="mmm\-yy"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8761744"/>
        <c:crosses val="autoZero"/>
        <c:auto val="1"/>
        <c:lblOffset val="100"/>
        <c:baseTimeUnit val="months"/>
        <c:majorUnit val="6"/>
        <c:majorTimeUnit val="months"/>
      </c:dateAx>
      <c:valAx>
        <c:axId val="448761744"/>
        <c:scaling>
          <c:orientation val="minMax"/>
        </c:scaling>
        <c:delete val="0"/>
        <c:axPos val="l"/>
        <c:numFmt formatCode="#,##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448766544"/>
        <c:crosses val="autoZero"/>
        <c:crossBetween val="between"/>
      </c:valAx>
      <c:valAx>
        <c:axId val="448773744"/>
        <c:scaling>
          <c:orientation val="minMax"/>
        </c:scaling>
        <c:delete val="0"/>
        <c:axPos val="r"/>
        <c:numFmt formatCode="#,##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8772304"/>
        <c:crosses val="max"/>
        <c:crossBetween val="between"/>
      </c:valAx>
      <c:dateAx>
        <c:axId val="448772304"/>
        <c:scaling>
          <c:orientation val="minMax"/>
        </c:scaling>
        <c:delete val="1"/>
        <c:axPos val="b"/>
        <c:numFmt formatCode="mmm\-yy" sourceLinked="1"/>
        <c:majorTickMark val="out"/>
        <c:minorTickMark val="none"/>
        <c:tickLblPos val="nextTo"/>
        <c:crossAx val="448773744"/>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39479166666667E-2"/>
          <c:y val="3.0868055555555555E-2"/>
          <c:w val="0.89330312499999998"/>
          <c:h val="0.84798263888888892"/>
        </c:manualLayout>
      </c:layout>
      <c:lineChart>
        <c:grouping val="standard"/>
        <c:varyColors val="0"/>
        <c:ser>
          <c:idx val="0"/>
          <c:order val="0"/>
          <c:tx>
            <c:strRef>
              <c:f>'[4.8 - 4.12.xlsx]Profit '!$AT$162</c:f>
              <c:strCache>
                <c:ptCount val="1"/>
                <c:pt idx="0">
                  <c:v>Retail trade</c:v>
                </c:pt>
              </c:strCache>
            </c:strRef>
          </c:tx>
          <c:spPr>
            <a:ln w="28575" cap="rnd">
              <a:solidFill>
                <a:srgbClr val="0076A8"/>
              </a:solidFill>
              <a:round/>
            </a:ln>
            <a:effectLst/>
          </c:spPr>
          <c:marker>
            <c:symbol val="none"/>
          </c:marker>
          <c:cat>
            <c:numRef>
              <c:f>'[4.8 - 4.12.xlsx]Profit '!$AU$161:$BD$161</c:f>
              <c:numCache>
                <c:formatCode>mmm\-yy</c:formatCode>
                <c:ptCount val="10"/>
                <c:pt idx="0">
                  <c:v>42156</c:v>
                </c:pt>
                <c:pt idx="1">
                  <c:v>42522</c:v>
                </c:pt>
                <c:pt idx="2">
                  <c:v>42887</c:v>
                </c:pt>
                <c:pt idx="3">
                  <c:v>43252</c:v>
                </c:pt>
                <c:pt idx="4">
                  <c:v>43617</c:v>
                </c:pt>
                <c:pt idx="5">
                  <c:v>43983</c:v>
                </c:pt>
                <c:pt idx="6">
                  <c:v>44348</c:v>
                </c:pt>
                <c:pt idx="7">
                  <c:v>44713</c:v>
                </c:pt>
                <c:pt idx="8">
                  <c:v>45078</c:v>
                </c:pt>
                <c:pt idx="9">
                  <c:v>45444</c:v>
                </c:pt>
              </c:numCache>
            </c:numRef>
          </c:cat>
          <c:val>
            <c:numRef>
              <c:f>'[4.8 - 4.12.xlsx]Profit '!$AU$162:$BD$162</c:f>
              <c:numCache>
                <c:formatCode>0.0%</c:formatCode>
                <c:ptCount val="10"/>
                <c:pt idx="0">
                  <c:v>5.6250000000000001E-2</c:v>
                </c:pt>
                <c:pt idx="1">
                  <c:v>5.6249999999999994E-2</c:v>
                </c:pt>
                <c:pt idx="2">
                  <c:v>0.06</c:v>
                </c:pt>
                <c:pt idx="3">
                  <c:v>6.0624999999999998E-2</c:v>
                </c:pt>
                <c:pt idx="4">
                  <c:v>5.8749999999999997E-2</c:v>
                </c:pt>
                <c:pt idx="5">
                  <c:v>7.5000000000000011E-2</c:v>
                </c:pt>
                <c:pt idx="6">
                  <c:v>6.25E-2</c:v>
                </c:pt>
                <c:pt idx="7">
                  <c:v>6.25E-2</c:v>
                </c:pt>
                <c:pt idx="8">
                  <c:v>5.5000000000000007E-2</c:v>
                </c:pt>
                <c:pt idx="9">
                  <c:v>5.890625E-2</c:v>
                </c:pt>
              </c:numCache>
            </c:numRef>
          </c:val>
          <c:smooth val="0"/>
          <c:extLst>
            <c:ext xmlns:c16="http://schemas.microsoft.com/office/drawing/2014/chart" uri="{C3380CC4-5D6E-409C-BE32-E72D297353CC}">
              <c16:uniqueId val="{00000000-B276-4051-974D-196F3B02E38D}"/>
            </c:ext>
          </c:extLst>
        </c:ser>
        <c:dLbls>
          <c:showLegendKey val="0"/>
          <c:showVal val="0"/>
          <c:showCatName val="0"/>
          <c:showSerName val="0"/>
          <c:showPercent val="0"/>
          <c:showBubbleSize val="0"/>
        </c:dLbls>
        <c:smooth val="0"/>
        <c:axId val="56937391"/>
        <c:axId val="56936911"/>
      </c:lineChart>
      <c:dateAx>
        <c:axId val="56937391"/>
        <c:scaling>
          <c:orientation val="minMax"/>
          <c:max val="45444"/>
          <c:min val="42156"/>
        </c:scaling>
        <c:delete val="0"/>
        <c:axPos val="b"/>
        <c:numFmt formatCode="yyyy" sourceLinked="0"/>
        <c:majorTickMark val="out"/>
        <c:minorTickMark val="none"/>
        <c:tickLblPos val="nextTo"/>
        <c:spPr>
          <a:noFill/>
          <a:ln w="9525" cap="flat" cmpd="sng" algn="ctr">
            <a:solidFill>
              <a:schemeClr val="tx1"/>
            </a:solidFill>
            <a:round/>
          </a:ln>
          <a:effectLst/>
        </c:spPr>
        <c:txPr>
          <a:bodyPr rot="-60000000" vert="horz"/>
          <a:lstStyle/>
          <a:p>
            <a:pPr>
              <a:defRPr/>
            </a:pPr>
            <a:endParaRPr lang="en-US"/>
          </a:p>
        </c:txPr>
        <c:crossAx val="56936911"/>
        <c:crosses val="autoZero"/>
        <c:auto val="1"/>
        <c:lblOffset val="100"/>
        <c:baseTimeUnit val="years"/>
        <c:majorUnit val="1"/>
        <c:majorTimeUnit val="years"/>
      </c:dateAx>
      <c:valAx>
        <c:axId val="56936911"/>
        <c:scaling>
          <c:orientation val="minMax"/>
        </c:scaling>
        <c:delete val="0"/>
        <c:axPos val="l"/>
        <c:numFmt formatCode="0%" sourceLinked="0"/>
        <c:majorTickMark val="out"/>
        <c:minorTickMark val="none"/>
        <c:tickLblPos val="nextTo"/>
        <c:spPr>
          <a:noFill/>
          <a:ln>
            <a:solidFill>
              <a:srgbClr val="012169"/>
            </a:solidFill>
          </a:ln>
          <a:effectLst/>
        </c:spPr>
        <c:txPr>
          <a:bodyPr rot="-60000000" vert="horz"/>
          <a:lstStyle/>
          <a:p>
            <a:pPr>
              <a:defRPr/>
            </a:pPr>
            <a:endParaRPr lang="en-US"/>
          </a:p>
        </c:txPr>
        <c:crossAx val="56937391"/>
        <c:crosses val="autoZero"/>
        <c:crossBetween val="midCat"/>
      </c:valAx>
    </c:plotArea>
    <c:plotVisOnly val="1"/>
    <c:dispBlanksAs val="gap"/>
    <c:showDLblsOverMax val="0"/>
    <c:extLst/>
  </c:chart>
  <c:txPr>
    <a:bodyPr/>
    <a:lstStyle/>
    <a:p>
      <a:pPr>
        <a:defRPr>
          <a:solidFill>
            <a:schemeClr val="tx1"/>
          </a:solidFil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3187192925370574E-2"/>
          <c:y val="4.7976955202021283E-2"/>
          <c:w val="0.86669584359161089"/>
          <c:h val="0.81609651425178753"/>
        </c:manualLayout>
      </c:layout>
      <c:lineChart>
        <c:grouping val="standard"/>
        <c:varyColors val="0"/>
        <c:ser>
          <c:idx val="0"/>
          <c:order val="0"/>
          <c:tx>
            <c:strRef>
              <c:f>'[Retail workbook September 2024.xlsx]CPI'!$B$110</c:f>
              <c:strCache>
                <c:ptCount val="1"/>
                <c:pt idx="0">
                  <c:v>Annual change</c:v>
                </c:pt>
              </c:strCache>
            </c:strRef>
          </c:tx>
          <c:spPr>
            <a:ln w="28575" cap="rnd">
              <a:solidFill>
                <a:srgbClr val="0076A8"/>
              </a:solidFill>
              <a:round/>
            </a:ln>
            <a:effectLst/>
          </c:spPr>
          <c:marker>
            <c:symbol val="none"/>
          </c:marker>
          <c:cat>
            <c:numRef>
              <c:f>'[Retail workbook September 2024.xlsx]CPI'!$C$95:$W$95</c:f>
              <c:numCache>
                <c:formatCode>mmm\ yy</c:formatCode>
                <c:ptCount val="21"/>
                <c:pt idx="0">
                  <c:v>43709</c:v>
                </c:pt>
                <c:pt idx="1">
                  <c:v>43800</c:v>
                </c:pt>
                <c:pt idx="2">
                  <c:v>43891</c:v>
                </c:pt>
                <c:pt idx="3">
                  <c:v>43983</c:v>
                </c:pt>
                <c:pt idx="4">
                  <c:v>44075</c:v>
                </c:pt>
                <c:pt idx="5">
                  <c:v>44166</c:v>
                </c:pt>
                <c:pt idx="6">
                  <c:v>44256</c:v>
                </c:pt>
                <c:pt idx="7">
                  <c:v>44348</c:v>
                </c:pt>
                <c:pt idx="8">
                  <c:v>44440</c:v>
                </c:pt>
                <c:pt idx="9">
                  <c:v>44531</c:v>
                </c:pt>
                <c:pt idx="10">
                  <c:v>44621</c:v>
                </c:pt>
                <c:pt idx="11">
                  <c:v>44713</c:v>
                </c:pt>
                <c:pt idx="12">
                  <c:v>44805</c:v>
                </c:pt>
                <c:pt idx="13">
                  <c:v>44896</c:v>
                </c:pt>
                <c:pt idx="14">
                  <c:v>44986</c:v>
                </c:pt>
                <c:pt idx="15">
                  <c:v>45078</c:v>
                </c:pt>
                <c:pt idx="16">
                  <c:v>45170</c:v>
                </c:pt>
                <c:pt idx="17">
                  <c:v>45261</c:v>
                </c:pt>
                <c:pt idx="18">
                  <c:v>45352</c:v>
                </c:pt>
                <c:pt idx="19">
                  <c:v>45444</c:v>
                </c:pt>
                <c:pt idx="20">
                  <c:v>45536</c:v>
                </c:pt>
              </c:numCache>
            </c:numRef>
          </c:cat>
          <c:val>
            <c:numRef>
              <c:f>'[Retail workbook September 2024.xlsx]CPI'!$C$110:$W$110</c:f>
              <c:numCache>
                <c:formatCode>0.0%</c:formatCode>
                <c:ptCount val="21"/>
                <c:pt idx="0">
                  <c:v>1.7000000000000001E-2</c:v>
                </c:pt>
                <c:pt idx="1">
                  <c:v>1.8000000000000002E-2</c:v>
                </c:pt>
                <c:pt idx="2">
                  <c:v>2.2000000000000002E-2</c:v>
                </c:pt>
                <c:pt idx="3">
                  <c:v>-3.0000000000000001E-3</c:v>
                </c:pt>
                <c:pt idx="4">
                  <c:v>6.9999999999999993E-3</c:v>
                </c:pt>
                <c:pt idx="5">
                  <c:v>9.0000000000000011E-3</c:v>
                </c:pt>
                <c:pt idx="6">
                  <c:v>1.1000000000000001E-2</c:v>
                </c:pt>
                <c:pt idx="7">
                  <c:v>3.7999999999999999E-2</c:v>
                </c:pt>
                <c:pt idx="8">
                  <c:v>0.03</c:v>
                </c:pt>
                <c:pt idx="9">
                  <c:v>3.5000000000000003E-2</c:v>
                </c:pt>
                <c:pt idx="10">
                  <c:v>5.0999999999999997E-2</c:v>
                </c:pt>
                <c:pt idx="11">
                  <c:v>6.0999999999999999E-2</c:v>
                </c:pt>
                <c:pt idx="12">
                  <c:v>7.2999999999999995E-2</c:v>
                </c:pt>
                <c:pt idx="13">
                  <c:v>7.8E-2</c:v>
                </c:pt>
                <c:pt idx="14">
                  <c:v>7.0000000000000007E-2</c:v>
                </c:pt>
                <c:pt idx="15">
                  <c:v>0.06</c:v>
                </c:pt>
                <c:pt idx="16">
                  <c:v>5.4000000000000006E-2</c:v>
                </c:pt>
                <c:pt idx="17">
                  <c:v>4.0999999999999995E-2</c:v>
                </c:pt>
                <c:pt idx="18">
                  <c:v>3.6000000000000004E-2</c:v>
                </c:pt>
                <c:pt idx="19">
                  <c:v>3.7999999999999999E-2</c:v>
                </c:pt>
                <c:pt idx="20">
                  <c:v>2.7999999999999997E-2</c:v>
                </c:pt>
              </c:numCache>
            </c:numRef>
          </c:val>
          <c:smooth val="0"/>
          <c:extLst>
            <c:ext xmlns:c16="http://schemas.microsoft.com/office/drawing/2014/chart" uri="{C3380CC4-5D6E-409C-BE32-E72D297353CC}">
              <c16:uniqueId val="{00000001-A047-4DEE-BCA2-E9F97EF61C4A}"/>
            </c:ext>
          </c:extLst>
        </c:ser>
        <c:dLbls>
          <c:showLegendKey val="0"/>
          <c:showVal val="0"/>
          <c:showCatName val="0"/>
          <c:showSerName val="0"/>
          <c:showPercent val="0"/>
          <c:showBubbleSize val="0"/>
        </c:dLbls>
        <c:smooth val="0"/>
        <c:axId val="973850735"/>
        <c:axId val="973827855"/>
      </c:lineChart>
      <c:dateAx>
        <c:axId val="973850735"/>
        <c:scaling>
          <c:orientation val="minMax"/>
        </c:scaling>
        <c:delete val="0"/>
        <c:axPos val="b"/>
        <c:numFmt formatCode="mmm\ yy" sourceLinked="1"/>
        <c:majorTickMark val="out"/>
        <c:minorTickMark val="none"/>
        <c:tickLblPos val="low"/>
        <c:spPr>
          <a:noFill/>
          <a:ln w="9525" cap="flat" cmpd="sng" algn="ctr">
            <a:solidFill>
              <a:sysClr val="windowText" lastClr="000000"/>
            </a:solidFill>
            <a:round/>
          </a:ln>
          <a:effectLst/>
        </c:spPr>
        <c:txPr>
          <a:bodyPr rot="0" spcFirstLastPara="1" vertOverflow="ellipsis" wrap="square" anchor="ctr" anchorCtr="1"/>
          <a:lstStyle/>
          <a:p>
            <a:pPr>
              <a:defRPr sz="900" b="0" i="0" u="none" strike="noStrike" kern="1200" baseline="0">
                <a:solidFill>
                  <a:sysClr val="windowText" lastClr="000000"/>
                </a:solidFill>
                <a:latin typeface="+mn-lt"/>
                <a:ea typeface="+mn-ea"/>
                <a:cs typeface="+mn-cs"/>
              </a:defRPr>
            </a:pPr>
            <a:endParaRPr lang="en-US"/>
          </a:p>
        </c:txPr>
        <c:crossAx val="973827855"/>
        <c:crosses val="autoZero"/>
        <c:auto val="1"/>
        <c:lblOffset val="100"/>
        <c:baseTimeUnit val="months"/>
        <c:majorUnit val="12"/>
        <c:majorTimeUnit val="months"/>
      </c:dateAx>
      <c:valAx>
        <c:axId val="973827855"/>
        <c:scaling>
          <c:orientation val="minMax"/>
        </c:scaling>
        <c:delete val="0"/>
        <c:axPos val="l"/>
        <c:numFmt formatCode="0%" sourceLinked="0"/>
        <c:majorTickMark val="out"/>
        <c:minorTickMark val="none"/>
        <c:tickLblPos val="nextTo"/>
        <c:spPr>
          <a:noFill/>
          <a:ln>
            <a:solidFill>
              <a:sysClr val="windowText" lastClr="000000"/>
            </a:solid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973850735"/>
        <c:crosses val="autoZero"/>
        <c:crossBetween val="between"/>
      </c:valAx>
      <c:spPr>
        <a:noFill/>
        <a:ln>
          <a:noFill/>
        </a:ln>
        <a:effectLst/>
      </c:spPr>
    </c:plotArea>
    <c:plotVisOnly val="0"/>
    <c:dispBlanksAs val="gap"/>
    <c:showDLblsOverMax val="0"/>
  </c:chart>
  <c:spPr>
    <a:solidFill>
      <a:schemeClr val="bg1"/>
    </a:solidFill>
    <a:ln w="9525" cap="flat" cmpd="sng" algn="ctr">
      <a:noFill/>
      <a:round/>
    </a:ln>
    <a:effectLst/>
  </c:spPr>
  <c:txPr>
    <a:bodyPr/>
    <a:lstStyle/>
    <a:p>
      <a:pPr>
        <a:defRPr>
          <a:solidFill>
            <a:sysClr val="windowText" lastClr="000000"/>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Workings!$B$31</c:f>
              <c:strCache>
                <c:ptCount val="1"/>
                <c:pt idx="0">
                  <c:v>Scheduled payments</c:v>
                </c:pt>
              </c:strCache>
            </c:strRef>
          </c:tx>
          <c:spPr>
            <a:ln w="28575" cap="rnd">
              <a:solidFill>
                <a:srgbClr val="A7A8AA"/>
              </a:solidFill>
              <a:round/>
            </a:ln>
            <a:effectLst/>
          </c:spPr>
          <c:marker>
            <c:symbol val="none"/>
          </c:marker>
          <c:cat>
            <c:numRef>
              <c:f>Workings!$C$24:$BL$24</c:f>
              <c:numCache>
                <c:formatCode>mmm\-yyyy</c:formatCode>
                <c:ptCount val="62"/>
                <c:pt idx="0">
                  <c:v>39873</c:v>
                </c:pt>
                <c:pt idx="1">
                  <c:v>39965</c:v>
                </c:pt>
                <c:pt idx="2">
                  <c:v>40057</c:v>
                </c:pt>
                <c:pt idx="3">
                  <c:v>40148</c:v>
                </c:pt>
                <c:pt idx="4">
                  <c:v>40238</c:v>
                </c:pt>
                <c:pt idx="5">
                  <c:v>40330</c:v>
                </c:pt>
                <c:pt idx="6">
                  <c:v>40422</c:v>
                </c:pt>
                <c:pt idx="7">
                  <c:v>40513</c:v>
                </c:pt>
                <c:pt idx="8">
                  <c:v>40603</c:v>
                </c:pt>
                <c:pt idx="9">
                  <c:v>40695</c:v>
                </c:pt>
                <c:pt idx="10">
                  <c:v>40787</c:v>
                </c:pt>
                <c:pt idx="11">
                  <c:v>40878</c:v>
                </c:pt>
                <c:pt idx="12">
                  <c:v>40969</c:v>
                </c:pt>
                <c:pt idx="13">
                  <c:v>41061</c:v>
                </c:pt>
                <c:pt idx="14">
                  <c:v>41153</c:v>
                </c:pt>
                <c:pt idx="15">
                  <c:v>41244</c:v>
                </c:pt>
                <c:pt idx="16">
                  <c:v>41334</c:v>
                </c:pt>
                <c:pt idx="17">
                  <c:v>41426</c:v>
                </c:pt>
                <c:pt idx="18">
                  <c:v>41518</c:v>
                </c:pt>
                <c:pt idx="19">
                  <c:v>41609</c:v>
                </c:pt>
                <c:pt idx="20">
                  <c:v>41699</c:v>
                </c:pt>
                <c:pt idx="21">
                  <c:v>41791</c:v>
                </c:pt>
                <c:pt idx="22">
                  <c:v>41883</c:v>
                </c:pt>
                <c:pt idx="23">
                  <c:v>41974</c:v>
                </c:pt>
                <c:pt idx="24">
                  <c:v>42064</c:v>
                </c:pt>
                <c:pt idx="25">
                  <c:v>42156</c:v>
                </c:pt>
                <c:pt idx="26">
                  <c:v>42248</c:v>
                </c:pt>
                <c:pt idx="27">
                  <c:v>42339</c:v>
                </c:pt>
                <c:pt idx="28">
                  <c:v>42430</c:v>
                </c:pt>
                <c:pt idx="29">
                  <c:v>42522</c:v>
                </c:pt>
                <c:pt idx="30">
                  <c:v>42614</c:v>
                </c:pt>
                <c:pt idx="31">
                  <c:v>42705</c:v>
                </c:pt>
                <c:pt idx="32">
                  <c:v>42795</c:v>
                </c:pt>
                <c:pt idx="33">
                  <c:v>42887</c:v>
                </c:pt>
                <c:pt idx="34">
                  <c:v>42979</c:v>
                </c:pt>
                <c:pt idx="35">
                  <c:v>43070</c:v>
                </c:pt>
                <c:pt idx="36">
                  <c:v>43160</c:v>
                </c:pt>
                <c:pt idx="37">
                  <c:v>43252</c:v>
                </c:pt>
                <c:pt idx="38">
                  <c:v>43344</c:v>
                </c:pt>
                <c:pt idx="39">
                  <c:v>43435</c:v>
                </c:pt>
                <c:pt idx="40">
                  <c:v>43525</c:v>
                </c:pt>
                <c:pt idx="41">
                  <c:v>43617</c:v>
                </c:pt>
                <c:pt idx="42">
                  <c:v>43709</c:v>
                </c:pt>
                <c:pt idx="43">
                  <c:v>43800</c:v>
                </c:pt>
                <c:pt idx="44">
                  <c:v>43891</c:v>
                </c:pt>
                <c:pt idx="45">
                  <c:v>43983</c:v>
                </c:pt>
                <c:pt idx="46">
                  <c:v>44075</c:v>
                </c:pt>
                <c:pt idx="47">
                  <c:v>44166</c:v>
                </c:pt>
                <c:pt idx="48">
                  <c:v>44256</c:v>
                </c:pt>
                <c:pt idx="49">
                  <c:v>44348</c:v>
                </c:pt>
                <c:pt idx="50">
                  <c:v>44440</c:v>
                </c:pt>
                <c:pt idx="51">
                  <c:v>44531</c:v>
                </c:pt>
                <c:pt idx="52">
                  <c:v>44621</c:v>
                </c:pt>
                <c:pt idx="53">
                  <c:v>44713</c:v>
                </c:pt>
                <c:pt idx="54">
                  <c:v>44805</c:v>
                </c:pt>
                <c:pt idx="55">
                  <c:v>44896</c:v>
                </c:pt>
                <c:pt idx="56">
                  <c:v>44986</c:v>
                </c:pt>
                <c:pt idx="57">
                  <c:v>45078</c:v>
                </c:pt>
                <c:pt idx="58">
                  <c:v>45170</c:v>
                </c:pt>
                <c:pt idx="59">
                  <c:v>45261</c:v>
                </c:pt>
                <c:pt idx="60">
                  <c:v>45352</c:v>
                </c:pt>
                <c:pt idx="61">
                  <c:v>45444</c:v>
                </c:pt>
              </c:numCache>
            </c:numRef>
          </c:cat>
          <c:val>
            <c:numRef>
              <c:f>Workings!$C$31:$BL$31</c:f>
              <c:numCache>
                <c:formatCode>0.0%</c:formatCode>
                <c:ptCount val="62"/>
                <c:pt idx="0">
                  <c:v>8.2689244969994913E-2</c:v>
                </c:pt>
                <c:pt idx="1">
                  <c:v>8.1828278240409599E-2</c:v>
                </c:pt>
                <c:pt idx="2">
                  <c:v>8.1667406877292306E-2</c:v>
                </c:pt>
                <c:pt idx="3">
                  <c:v>8.3036316777234997E-2</c:v>
                </c:pt>
                <c:pt idx="4">
                  <c:v>8.6444884511214889E-2</c:v>
                </c:pt>
                <c:pt idx="5">
                  <c:v>8.6863266642874401E-2</c:v>
                </c:pt>
                <c:pt idx="6">
                  <c:v>8.9522951806266599E-2</c:v>
                </c:pt>
                <c:pt idx="7">
                  <c:v>9.0564911502488604E-2</c:v>
                </c:pt>
                <c:pt idx="8">
                  <c:v>8.9185348395664193E-2</c:v>
                </c:pt>
                <c:pt idx="9">
                  <c:v>8.9414065159835687E-2</c:v>
                </c:pt>
                <c:pt idx="10">
                  <c:v>8.9246381736509992E-2</c:v>
                </c:pt>
                <c:pt idx="11">
                  <c:v>8.6570459456136603E-2</c:v>
                </c:pt>
                <c:pt idx="12">
                  <c:v>8.648677920587261E-2</c:v>
                </c:pt>
                <c:pt idx="13">
                  <c:v>8.3823245379291395E-2</c:v>
                </c:pt>
                <c:pt idx="14">
                  <c:v>8.3241013148619702E-2</c:v>
                </c:pt>
                <c:pt idx="15">
                  <c:v>8.1178075464814411E-2</c:v>
                </c:pt>
                <c:pt idx="16">
                  <c:v>8.0952387864173095E-2</c:v>
                </c:pt>
                <c:pt idx="17">
                  <c:v>8.3375881156884601E-2</c:v>
                </c:pt>
                <c:pt idx="18">
                  <c:v>7.9210105186742694E-2</c:v>
                </c:pt>
                <c:pt idx="19">
                  <c:v>7.8648218268513898E-2</c:v>
                </c:pt>
                <c:pt idx="20">
                  <c:v>7.6924427604548595E-2</c:v>
                </c:pt>
                <c:pt idx="21">
                  <c:v>7.5791160210538E-2</c:v>
                </c:pt>
                <c:pt idx="22">
                  <c:v>7.6233215158051995E-2</c:v>
                </c:pt>
                <c:pt idx="23">
                  <c:v>7.5664178902306201E-2</c:v>
                </c:pt>
                <c:pt idx="24">
                  <c:v>7.4966317781898495E-2</c:v>
                </c:pt>
                <c:pt idx="25">
                  <c:v>7.3457208417752801E-2</c:v>
                </c:pt>
                <c:pt idx="26">
                  <c:v>7.3744933459149301E-2</c:v>
                </c:pt>
                <c:pt idx="27">
                  <c:v>7.5052286508688199E-2</c:v>
                </c:pt>
                <c:pt idx="28">
                  <c:v>7.5749483894264003E-2</c:v>
                </c:pt>
                <c:pt idx="29">
                  <c:v>7.5615556011008903E-2</c:v>
                </c:pt>
                <c:pt idx="30">
                  <c:v>7.4139161580625002E-2</c:v>
                </c:pt>
                <c:pt idx="31">
                  <c:v>7.4599006603101994E-2</c:v>
                </c:pt>
                <c:pt idx="32">
                  <c:v>7.4001354529129607E-2</c:v>
                </c:pt>
                <c:pt idx="33">
                  <c:v>7.6523285786399803E-2</c:v>
                </c:pt>
                <c:pt idx="34">
                  <c:v>7.80289997916436E-2</c:v>
                </c:pt>
                <c:pt idx="35">
                  <c:v>7.6775002252721103E-2</c:v>
                </c:pt>
                <c:pt idx="36">
                  <c:v>7.7286287570516907E-2</c:v>
                </c:pt>
                <c:pt idx="37">
                  <c:v>7.9324684190668307E-2</c:v>
                </c:pt>
                <c:pt idx="38">
                  <c:v>8.1421883183586202E-2</c:v>
                </c:pt>
                <c:pt idx="39">
                  <c:v>8.0768406386063099E-2</c:v>
                </c:pt>
                <c:pt idx="40">
                  <c:v>7.7550206592193693E-2</c:v>
                </c:pt>
                <c:pt idx="41">
                  <c:v>7.9419998046654394E-2</c:v>
                </c:pt>
                <c:pt idx="42">
                  <c:v>7.7398668415580102E-2</c:v>
                </c:pt>
                <c:pt idx="43">
                  <c:v>7.9073467560143801E-2</c:v>
                </c:pt>
                <c:pt idx="44">
                  <c:v>7.8861045342288702E-2</c:v>
                </c:pt>
                <c:pt idx="45">
                  <c:v>7.3907176700691302E-2</c:v>
                </c:pt>
                <c:pt idx="46">
                  <c:v>7.0886900649340306E-2</c:v>
                </c:pt>
                <c:pt idx="47">
                  <c:v>7.4252868867081503E-2</c:v>
                </c:pt>
                <c:pt idx="48">
                  <c:v>7.4614667254835607E-2</c:v>
                </c:pt>
                <c:pt idx="49">
                  <c:v>7.5921330331978606E-2</c:v>
                </c:pt>
                <c:pt idx="50">
                  <c:v>7.2365030739122302E-2</c:v>
                </c:pt>
                <c:pt idx="51">
                  <c:v>7.3042241464815E-2</c:v>
                </c:pt>
                <c:pt idx="52">
                  <c:v>7.2081566249081894E-2</c:v>
                </c:pt>
                <c:pt idx="53">
                  <c:v>7.4459684485977007E-2</c:v>
                </c:pt>
                <c:pt idx="54">
                  <c:v>7.7487181688805598E-2</c:v>
                </c:pt>
                <c:pt idx="55">
                  <c:v>8.5103722705617404E-2</c:v>
                </c:pt>
                <c:pt idx="56">
                  <c:v>8.9469246548031997E-2</c:v>
                </c:pt>
                <c:pt idx="57">
                  <c:v>9.3488031744340491E-2</c:v>
                </c:pt>
                <c:pt idx="58">
                  <c:v>9.7445277221148499E-2</c:v>
                </c:pt>
                <c:pt idx="59">
                  <c:v>9.7556126619528893E-2</c:v>
                </c:pt>
                <c:pt idx="60">
                  <c:v>9.8912901038057999E-2</c:v>
                </c:pt>
                <c:pt idx="61">
                  <c:v>0.11007989077348461</c:v>
                </c:pt>
              </c:numCache>
            </c:numRef>
          </c:val>
          <c:smooth val="0"/>
          <c:extLst>
            <c:ext xmlns:c16="http://schemas.microsoft.com/office/drawing/2014/chart" uri="{C3380CC4-5D6E-409C-BE32-E72D297353CC}">
              <c16:uniqueId val="{00000000-E1DA-496D-8DAD-25C163A923E5}"/>
            </c:ext>
          </c:extLst>
        </c:ser>
        <c:ser>
          <c:idx val="1"/>
          <c:order val="1"/>
          <c:tx>
            <c:strRef>
              <c:f>Workings!$B$32</c:f>
              <c:strCache>
                <c:ptCount val="1"/>
                <c:pt idx="0">
                  <c:v>Total payments</c:v>
                </c:pt>
              </c:strCache>
            </c:strRef>
          </c:tx>
          <c:spPr>
            <a:ln w="28575" cap="rnd">
              <a:solidFill>
                <a:srgbClr val="0076A8"/>
              </a:solidFill>
              <a:round/>
            </a:ln>
            <a:effectLst/>
          </c:spPr>
          <c:marker>
            <c:symbol val="none"/>
          </c:marker>
          <c:cat>
            <c:numRef>
              <c:f>Workings!$C$24:$BL$24</c:f>
              <c:numCache>
                <c:formatCode>mmm\-yyyy</c:formatCode>
                <c:ptCount val="62"/>
                <c:pt idx="0">
                  <c:v>39873</c:v>
                </c:pt>
                <c:pt idx="1">
                  <c:v>39965</c:v>
                </c:pt>
                <c:pt idx="2">
                  <c:v>40057</c:v>
                </c:pt>
                <c:pt idx="3">
                  <c:v>40148</c:v>
                </c:pt>
                <c:pt idx="4">
                  <c:v>40238</c:v>
                </c:pt>
                <c:pt idx="5">
                  <c:v>40330</c:v>
                </c:pt>
                <c:pt idx="6">
                  <c:v>40422</c:v>
                </c:pt>
                <c:pt idx="7">
                  <c:v>40513</c:v>
                </c:pt>
                <c:pt idx="8">
                  <c:v>40603</c:v>
                </c:pt>
                <c:pt idx="9">
                  <c:v>40695</c:v>
                </c:pt>
                <c:pt idx="10">
                  <c:v>40787</c:v>
                </c:pt>
                <c:pt idx="11">
                  <c:v>40878</c:v>
                </c:pt>
                <c:pt idx="12">
                  <c:v>40969</c:v>
                </c:pt>
                <c:pt idx="13">
                  <c:v>41061</c:v>
                </c:pt>
                <c:pt idx="14">
                  <c:v>41153</c:v>
                </c:pt>
                <c:pt idx="15">
                  <c:v>41244</c:v>
                </c:pt>
                <c:pt idx="16">
                  <c:v>41334</c:v>
                </c:pt>
                <c:pt idx="17">
                  <c:v>41426</c:v>
                </c:pt>
                <c:pt idx="18">
                  <c:v>41518</c:v>
                </c:pt>
                <c:pt idx="19">
                  <c:v>41609</c:v>
                </c:pt>
                <c:pt idx="20">
                  <c:v>41699</c:v>
                </c:pt>
                <c:pt idx="21">
                  <c:v>41791</c:v>
                </c:pt>
                <c:pt idx="22">
                  <c:v>41883</c:v>
                </c:pt>
                <c:pt idx="23">
                  <c:v>41974</c:v>
                </c:pt>
                <c:pt idx="24">
                  <c:v>42064</c:v>
                </c:pt>
                <c:pt idx="25">
                  <c:v>42156</c:v>
                </c:pt>
                <c:pt idx="26">
                  <c:v>42248</c:v>
                </c:pt>
                <c:pt idx="27">
                  <c:v>42339</c:v>
                </c:pt>
                <c:pt idx="28">
                  <c:v>42430</c:v>
                </c:pt>
                <c:pt idx="29">
                  <c:v>42522</c:v>
                </c:pt>
                <c:pt idx="30">
                  <c:v>42614</c:v>
                </c:pt>
                <c:pt idx="31">
                  <c:v>42705</c:v>
                </c:pt>
                <c:pt idx="32">
                  <c:v>42795</c:v>
                </c:pt>
                <c:pt idx="33">
                  <c:v>42887</c:v>
                </c:pt>
                <c:pt idx="34">
                  <c:v>42979</c:v>
                </c:pt>
                <c:pt idx="35">
                  <c:v>43070</c:v>
                </c:pt>
                <c:pt idx="36">
                  <c:v>43160</c:v>
                </c:pt>
                <c:pt idx="37">
                  <c:v>43252</c:v>
                </c:pt>
                <c:pt idx="38">
                  <c:v>43344</c:v>
                </c:pt>
                <c:pt idx="39">
                  <c:v>43435</c:v>
                </c:pt>
                <c:pt idx="40">
                  <c:v>43525</c:v>
                </c:pt>
                <c:pt idx="41">
                  <c:v>43617</c:v>
                </c:pt>
                <c:pt idx="42">
                  <c:v>43709</c:v>
                </c:pt>
                <c:pt idx="43">
                  <c:v>43800</c:v>
                </c:pt>
                <c:pt idx="44">
                  <c:v>43891</c:v>
                </c:pt>
                <c:pt idx="45">
                  <c:v>43983</c:v>
                </c:pt>
                <c:pt idx="46">
                  <c:v>44075</c:v>
                </c:pt>
                <c:pt idx="47">
                  <c:v>44166</c:v>
                </c:pt>
                <c:pt idx="48">
                  <c:v>44256</c:v>
                </c:pt>
                <c:pt idx="49">
                  <c:v>44348</c:v>
                </c:pt>
                <c:pt idx="50">
                  <c:v>44440</c:v>
                </c:pt>
                <c:pt idx="51">
                  <c:v>44531</c:v>
                </c:pt>
                <c:pt idx="52">
                  <c:v>44621</c:v>
                </c:pt>
                <c:pt idx="53">
                  <c:v>44713</c:v>
                </c:pt>
                <c:pt idx="54">
                  <c:v>44805</c:v>
                </c:pt>
                <c:pt idx="55">
                  <c:v>44896</c:v>
                </c:pt>
                <c:pt idx="56">
                  <c:v>44986</c:v>
                </c:pt>
                <c:pt idx="57">
                  <c:v>45078</c:v>
                </c:pt>
                <c:pt idx="58">
                  <c:v>45170</c:v>
                </c:pt>
                <c:pt idx="59">
                  <c:v>45261</c:v>
                </c:pt>
                <c:pt idx="60">
                  <c:v>45352</c:v>
                </c:pt>
                <c:pt idx="61">
                  <c:v>45444</c:v>
                </c:pt>
              </c:numCache>
            </c:numRef>
          </c:cat>
          <c:val>
            <c:numRef>
              <c:f>Workings!$C$32:$BL$32</c:f>
              <c:numCache>
                <c:formatCode>0.0%</c:formatCode>
                <c:ptCount val="62"/>
                <c:pt idx="0">
                  <c:v>0.11521641673407931</c:v>
                </c:pt>
                <c:pt idx="1">
                  <c:v>9.2792977573833493E-2</c:v>
                </c:pt>
                <c:pt idx="2">
                  <c:v>9.8786376816548616E-2</c:v>
                </c:pt>
                <c:pt idx="3">
                  <c:v>0.1008007223967765</c:v>
                </c:pt>
                <c:pt idx="4">
                  <c:v>0.10461786726260909</c:v>
                </c:pt>
                <c:pt idx="5">
                  <c:v>0.1124076933581364</c:v>
                </c:pt>
                <c:pt idx="6">
                  <c:v>0.1114487715427242</c:v>
                </c:pt>
                <c:pt idx="7">
                  <c:v>0.1095260838125803</c:v>
                </c:pt>
                <c:pt idx="8">
                  <c:v>0.1077589121520387</c:v>
                </c:pt>
                <c:pt idx="9">
                  <c:v>0.10512385093418269</c:v>
                </c:pt>
                <c:pt idx="10">
                  <c:v>0.10969816836343339</c:v>
                </c:pt>
                <c:pt idx="11">
                  <c:v>0.10737016281958289</c:v>
                </c:pt>
                <c:pt idx="12">
                  <c:v>0.1054864867713193</c:v>
                </c:pt>
                <c:pt idx="13">
                  <c:v>0.10348602452576079</c:v>
                </c:pt>
                <c:pt idx="14">
                  <c:v>0.10451324059982101</c:v>
                </c:pt>
                <c:pt idx="15">
                  <c:v>0.10350559386574922</c:v>
                </c:pt>
                <c:pt idx="16">
                  <c:v>0.1043157992114655</c:v>
                </c:pt>
                <c:pt idx="17">
                  <c:v>0.1099081272716696</c:v>
                </c:pt>
                <c:pt idx="18">
                  <c:v>0.10203881242875459</c:v>
                </c:pt>
                <c:pt idx="19">
                  <c:v>0.103551081576006</c:v>
                </c:pt>
                <c:pt idx="20">
                  <c:v>0.1054835228310685</c:v>
                </c:pt>
                <c:pt idx="21">
                  <c:v>0.1022568989806712</c:v>
                </c:pt>
                <c:pt idx="22">
                  <c:v>0.10319823040862129</c:v>
                </c:pt>
                <c:pt idx="23">
                  <c:v>0.1047384821867797</c:v>
                </c:pt>
                <c:pt idx="24">
                  <c:v>0.1061155823635051</c:v>
                </c:pt>
                <c:pt idx="25">
                  <c:v>0.10566689734449219</c:v>
                </c:pt>
                <c:pt idx="26">
                  <c:v>0.10735142455033919</c:v>
                </c:pt>
                <c:pt idx="27">
                  <c:v>0.10325296978586759</c:v>
                </c:pt>
                <c:pt idx="28">
                  <c:v>9.6449918920819194E-2</c:v>
                </c:pt>
                <c:pt idx="29">
                  <c:v>0.10070306265955101</c:v>
                </c:pt>
                <c:pt idx="30">
                  <c:v>9.4820647143943101E-2</c:v>
                </c:pt>
                <c:pt idx="31">
                  <c:v>9.6830171644131102E-2</c:v>
                </c:pt>
                <c:pt idx="32">
                  <c:v>9.4112778985684611E-2</c:v>
                </c:pt>
                <c:pt idx="33">
                  <c:v>9.5092700962048207E-2</c:v>
                </c:pt>
                <c:pt idx="34">
                  <c:v>9.0551383992882706E-2</c:v>
                </c:pt>
                <c:pt idx="35">
                  <c:v>9.2870637465553602E-2</c:v>
                </c:pt>
                <c:pt idx="36">
                  <c:v>9.0703007823052711E-2</c:v>
                </c:pt>
                <c:pt idx="37">
                  <c:v>9.2908790576150702E-2</c:v>
                </c:pt>
                <c:pt idx="38">
                  <c:v>9.0829557201528757E-2</c:v>
                </c:pt>
                <c:pt idx="39">
                  <c:v>8.745279361961826E-2</c:v>
                </c:pt>
                <c:pt idx="40">
                  <c:v>9.5029575364633689E-2</c:v>
                </c:pt>
                <c:pt idx="41">
                  <c:v>8.6921411367662904E-2</c:v>
                </c:pt>
                <c:pt idx="42">
                  <c:v>8.3389161980091553E-2</c:v>
                </c:pt>
                <c:pt idx="43">
                  <c:v>9.662844570304191E-2</c:v>
                </c:pt>
                <c:pt idx="44">
                  <c:v>9.6093300522351599E-2</c:v>
                </c:pt>
                <c:pt idx="45">
                  <c:v>0.11576790997379049</c:v>
                </c:pt>
                <c:pt idx="46">
                  <c:v>0.11062176351703332</c:v>
                </c:pt>
                <c:pt idx="47">
                  <c:v>0.10192176056159741</c:v>
                </c:pt>
                <c:pt idx="48">
                  <c:v>9.9283121205976099E-2</c:v>
                </c:pt>
                <c:pt idx="49">
                  <c:v>9.7213228246746414E-2</c:v>
                </c:pt>
                <c:pt idx="50">
                  <c:v>0.1155359831043684</c:v>
                </c:pt>
                <c:pt idx="51">
                  <c:v>0.1047059237288845</c:v>
                </c:pt>
                <c:pt idx="52">
                  <c:v>9.4779910603737097E-2</c:v>
                </c:pt>
                <c:pt idx="53">
                  <c:v>0.10081054588824391</c:v>
                </c:pt>
                <c:pt idx="54">
                  <c:v>9.7641063638202102E-2</c:v>
                </c:pt>
                <c:pt idx="55">
                  <c:v>9.9785821614892106E-2</c:v>
                </c:pt>
                <c:pt idx="56">
                  <c:v>0.1056967570249885</c:v>
                </c:pt>
                <c:pt idx="57">
                  <c:v>0.10547419312511289</c:v>
                </c:pt>
                <c:pt idx="58">
                  <c:v>0.1148696941399991</c:v>
                </c:pt>
                <c:pt idx="59">
                  <c:v>0.1196136941587012</c:v>
                </c:pt>
                <c:pt idx="60">
                  <c:v>0.1215654690084763</c:v>
                </c:pt>
                <c:pt idx="61">
                  <c:v>0.12520438241382928</c:v>
                </c:pt>
              </c:numCache>
            </c:numRef>
          </c:val>
          <c:smooth val="0"/>
          <c:extLst>
            <c:ext xmlns:c16="http://schemas.microsoft.com/office/drawing/2014/chart" uri="{C3380CC4-5D6E-409C-BE32-E72D297353CC}">
              <c16:uniqueId val="{00000001-E1DA-496D-8DAD-25C163A923E5}"/>
            </c:ext>
          </c:extLst>
        </c:ser>
        <c:dLbls>
          <c:showLegendKey val="0"/>
          <c:showVal val="0"/>
          <c:showCatName val="0"/>
          <c:showSerName val="0"/>
          <c:showPercent val="0"/>
          <c:showBubbleSize val="0"/>
        </c:dLbls>
        <c:smooth val="0"/>
        <c:axId val="77796576"/>
        <c:axId val="77787456"/>
      </c:lineChart>
      <c:dateAx>
        <c:axId val="77796576"/>
        <c:scaling>
          <c:orientation val="minMax"/>
          <c:min val="41791"/>
        </c:scaling>
        <c:delete val="0"/>
        <c:axPos val="b"/>
        <c:numFmt formatCode="mmm\-yyyy" sourceLinked="1"/>
        <c:majorTickMark val="out"/>
        <c:minorTickMark val="none"/>
        <c:tickLblPos val="nextTo"/>
        <c:spPr>
          <a:noFill/>
          <a:ln w="9525" cap="flat" cmpd="sng" algn="ctr">
            <a:solidFill>
              <a:sysClr val="windowText" lastClr="000000"/>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j-lt"/>
                <a:ea typeface="Open Sans Light" panose="020B0306030504020204" pitchFamily="34" charset="0"/>
                <a:cs typeface="Open Sans Light" panose="020B0306030504020204" pitchFamily="34" charset="0"/>
              </a:defRPr>
            </a:pPr>
            <a:endParaRPr lang="en-US"/>
          </a:p>
        </c:txPr>
        <c:crossAx val="77787456"/>
        <c:crosses val="autoZero"/>
        <c:auto val="1"/>
        <c:lblOffset val="100"/>
        <c:baseTimeUnit val="months"/>
        <c:majorUnit val="12"/>
        <c:majorTimeUnit val="months"/>
      </c:dateAx>
      <c:valAx>
        <c:axId val="77787456"/>
        <c:scaling>
          <c:orientation val="minMax"/>
          <c:min val="6.0000000000000012E-2"/>
        </c:scaling>
        <c:delete val="0"/>
        <c:axPos val="l"/>
        <c:numFmt formatCode="0%" sourceLinked="0"/>
        <c:majorTickMark val="out"/>
        <c:minorTickMark val="none"/>
        <c:tickLblPos val="nextTo"/>
        <c:spPr>
          <a:noFill/>
          <a:ln>
            <a:solidFill>
              <a:sysClr val="windowText" lastClr="000000"/>
            </a:solidFill>
          </a:ln>
          <a:effectLst/>
        </c:spPr>
        <c:txPr>
          <a:bodyPr rot="-60000000" spcFirstLastPara="1" vertOverflow="ellipsis" vert="horz" wrap="square" anchor="ctr" anchorCtr="1"/>
          <a:lstStyle/>
          <a:p>
            <a:pPr>
              <a:defRPr sz="1000" b="0" i="0" u="none" strike="noStrike" kern="1200" baseline="0">
                <a:solidFill>
                  <a:schemeClr val="tx1"/>
                </a:solidFill>
                <a:latin typeface="+mj-lt"/>
                <a:ea typeface="Open Sans Light" panose="020B0306030504020204" pitchFamily="34" charset="0"/>
                <a:cs typeface="Open Sans Light" panose="020B0306030504020204" pitchFamily="34" charset="0"/>
              </a:defRPr>
            </a:pPr>
            <a:endParaRPr lang="en-US"/>
          </a:p>
        </c:txPr>
        <c:crossAx val="777965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j-lt"/>
              <a:ea typeface="Open Sans Light" panose="020B0306030504020204" pitchFamily="34" charset="0"/>
              <a:cs typeface="Open Sans Light" panose="020B03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000">
          <a:solidFill>
            <a:schemeClr val="tx1"/>
          </a:solidFill>
          <a:latin typeface="+mj-lt"/>
          <a:ea typeface="Open Sans Light" panose="020B0306030504020204" pitchFamily="34" charset="0"/>
          <a:cs typeface="Open Sans Light" panose="020B030603050402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02349182647649"/>
          <c:y val="2.0248937422264403E-3"/>
          <c:w val="0.76853241194905764"/>
          <c:h val="0.80023145387370687"/>
        </c:manualLayout>
      </c:layout>
      <c:barChart>
        <c:barDir val="bar"/>
        <c:grouping val="clustered"/>
        <c:varyColors val="0"/>
        <c:ser>
          <c:idx val="1"/>
          <c:order val="0"/>
          <c:tx>
            <c:strRef>
              <c:f>'Bar Chart Data'!$D$86</c:f>
              <c:strCache>
                <c:ptCount val="1"/>
                <c:pt idx="0">
                  <c:v>2025</c:v>
                </c:pt>
              </c:strCache>
            </c:strRef>
          </c:tx>
          <c:spPr>
            <a:solidFill>
              <a:schemeClr val="accent6">
                <a:lumMod val="40000"/>
                <a:lumOff val="60000"/>
              </a:schemeClr>
            </a:solidFill>
            <a:ln>
              <a:noFill/>
            </a:ln>
            <a:effectLst/>
          </c:spPr>
          <c:invertIfNegative val="0"/>
          <c:dPt>
            <c:idx val="2"/>
            <c:invertIfNegative val="0"/>
            <c:bubble3D val="0"/>
            <c:spPr>
              <a:noFill/>
              <a:ln w="19050">
                <a:solidFill>
                  <a:schemeClr val="accent6">
                    <a:lumMod val="40000"/>
                    <a:lumOff val="60000"/>
                  </a:schemeClr>
                </a:solidFill>
              </a:ln>
              <a:effectLst/>
            </c:spPr>
            <c:extLst>
              <c:ext xmlns:c16="http://schemas.microsoft.com/office/drawing/2014/chart" uri="{C3380CC4-5D6E-409C-BE32-E72D297353CC}">
                <c16:uniqueId val="{00000001-3B14-44A1-9E66-9B82902A26B4}"/>
              </c:ext>
            </c:extLst>
          </c:dPt>
          <c:cat>
            <c:strRef>
              <c:f>('Bar Chart Data'!$B$87,'Bar Chart Data'!$B$89:$B$92,'Bar Chart Data'!$B$94:$B$96)</c:f>
              <c:strCache>
                <c:ptCount val="8"/>
                <c:pt idx="0">
                  <c:v>Household goods</c:v>
                </c:pt>
                <c:pt idx="1">
                  <c:v> Other retailing</c:v>
                </c:pt>
                <c:pt idx="2">
                  <c:v> Total turnover</c:v>
                </c:pt>
                <c:pt idx="3">
                  <c:v>Cafés and restaurants</c:v>
                </c:pt>
                <c:pt idx="4">
                  <c:v>Supermarkets</c:v>
                </c:pt>
                <c:pt idx="5">
                  <c:v>Apparel</c:v>
                </c:pt>
                <c:pt idx="6">
                  <c:v> Department stores</c:v>
                </c:pt>
                <c:pt idx="7">
                  <c:v>Specialty food retail</c:v>
                </c:pt>
              </c:strCache>
              <c:extLst/>
            </c:strRef>
          </c:cat>
          <c:val>
            <c:numRef>
              <c:f>('Bar Chart Data'!$D$87,'Bar Chart Data'!$D$89:$D$92,'Bar Chart Data'!$D$94:$D$96)</c:f>
              <c:numCache>
                <c:formatCode>0.0%</c:formatCode>
                <c:ptCount val="8"/>
                <c:pt idx="0">
                  <c:v>3.3104249199789493E-2</c:v>
                </c:pt>
                <c:pt idx="1">
                  <c:v>1.6631292559565303E-2</c:v>
                </c:pt>
                <c:pt idx="2">
                  <c:v>1.4797327577407149E-2</c:v>
                </c:pt>
                <c:pt idx="3">
                  <c:v>1.3071236719527146E-2</c:v>
                </c:pt>
                <c:pt idx="4">
                  <c:v>1.2186666949196567E-2</c:v>
                </c:pt>
                <c:pt idx="5">
                  <c:v>6.2041681200861731E-3</c:v>
                </c:pt>
                <c:pt idx="6">
                  <c:v>1.2251348638632198E-3</c:v>
                </c:pt>
                <c:pt idx="7">
                  <c:v>-4.755849767830167E-4</c:v>
                </c:pt>
              </c:numCache>
              <c:extLst/>
            </c:numRef>
          </c:val>
          <c:extLst>
            <c:ext xmlns:c16="http://schemas.microsoft.com/office/drawing/2014/chart" uri="{C3380CC4-5D6E-409C-BE32-E72D297353CC}">
              <c16:uniqueId val="{00000002-3B14-44A1-9E66-9B82902A26B4}"/>
            </c:ext>
          </c:extLst>
        </c:ser>
        <c:ser>
          <c:idx val="0"/>
          <c:order val="1"/>
          <c:tx>
            <c:strRef>
              <c:f>'Bar Chart Data'!$C$86</c:f>
              <c:strCache>
                <c:ptCount val="1"/>
                <c:pt idx="0">
                  <c:v>2024</c:v>
                </c:pt>
              </c:strCache>
            </c:strRef>
          </c:tx>
          <c:spPr>
            <a:solidFill>
              <a:srgbClr val="0076BB"/>
            </a:solidFill>
            <a:ln>
              <a:noFill/>
            </a:ln>
            <a:effectLst/>
          </c:spPr>
          <c:invertIfNegative val="0"/>
          <c:dPt>
            <c:idx val="2"/>
            <c:invertIfNegative val="0"/>
            <c:bubble3D val="0"/>
            <c:spPr>
              <a:noFill/>
              <a:ln w="19050">
                <a:solidFill>
                  <a:srgbClr val="0076BB"/>
                </a:solidFill>
              </a:ln>
              <a:effectLst/>
            </c:spPr>
            <c:extLst>
              <c:ext xmlns:c16="http://schemas.microsoft.com/office/drawing/2014/chart" uri="{C3380CC4-5D6E-409C-BE32-E72D297353CC}">
                <c16:uniqueId val="{00000004-3B14-44A1-9E66-9B82902A26B4}"/>
              </c:ext>
            </c:extLst>
          </c:dPt>
          <c:cat>
            <c:strRef>
              <c:f>('Bar Chart Data'!$B$87,'Bar Chart Data'!$B$89:$B$92,'Bar Chart Data'!$B$94:$B$96)</c:f>
              <c:strCache>
                <c:ptCount val="8"/>
                <c:pt idx="0">
                  <c:v>Household goods</c:v>
                </c:pt>
                <c:pt idx="1">
                  <c:v> Other retailing</c:v>
                </c:pt>
                <c:pt idx="2">
                  <c:v> Total turnover</c:v>
                </c:pt>
                <c:pt idx="3">
                  <c:v>Cafés and restaurants</c:v>
                </c:pt>
                <c:pt idx="4">
                  <c:v>Supermarkets</c:v>
                </c:pt>
                <c:pt idx="5">
                  <c:v>Apparel</c:v>
                </c:pt>
                <c:pt idx="6">
                  <c:v> Department stores</c:v>
                </c:pt>
                <c:pt idx="7">
                  <c:v>Specialty food retail</c:v>
                </c:pt>
              </c:strCache>
              <c:extLst/>
            </c:strRef>
          </c:cat>
          <c:val>
            <c:numRef>
              <c:f>('Bar Chart Data'!$C$87,'Bar Chart Data'!$C$89:$C$92,'Bar Chart Data'!$C$94:$C$96)</c:f>
              <c:numCache>
                <c:formatCode>0.0%</c:formatCode>
                <c:ptCount val="8"/>
                <c:pt idx="0">
                  <c:v>5.6935706931089403E-3</c:v>
                </c:pt>
                <c:pt idx="1">
                  <c:v>1.6277208201446181E-2</c:v>
                </c:pt>
                <c:pt idx="2">
                  <c:v>-3.4550479684625213E-3</c:v>
                </c:pt>
                <c:pt idx="3">
                  <c:v>-1.6036535662593221E-2</c:v>
                </c:pt>
                <c:pt idx="4">
                  <c:v>-7.0240540286596875E-3</c:v>
                </c:pt>
                <c:pt idx="5">
                  <c:v>-9.0383258647517284E-3</c:v>
                </c:pt>
                <c:pt idx="6">
                  <c:v>-4.6620284550240587E-3</c:v>
                </c:pt>
                <c:pt idx="7">
                  <c:v>-1.0615880482368945E-2</c:v>
                </c:pt>
              </c:numCache>
              <c:extLst/>
            </c:numRef>
          </c:val>
          <c:extLst>
            <c:ext xmlns:c16="http://schemas.microsoft.com/office/drawing/2014/chart" uri="{C3380CC4-5D6E-409C-BE32-E72D297353CC}">
              <c16:uniqueId val="{00000005-3B14-44A1-9E66-9B82902A26B4}"/>
            </c:ext>
          </c:extLst>
        </c:ser>
        <c:dLbls>
          <c:showLegendKey val="0"/>
          <c:showVal val="0"/>
          <c:showCatName val="0"/>
          <c:showSerName val="0"/>
          <c:showPercent val="0"/>
          <c:showBubbleSize val="0"/>
        </c:dLbls>
        <c:gapWidth val="150"/>
        <c:axId val="2052677760"/>
        <c:axId val="2052680672"/>
      </c:barChart>
      <c:catAx>
        <c:axId val="2052677760"/>
        <c:scaling>
          <c:orientation val="minMax"/>
        </c:scaling>
        <c:delete val="0"/>
        <c:axPos val="l"/>
        <c:numFmt formatCode="General" sourceLinked="1"/>
        <c:majorTickMark val="out"/>
        <c:minorTickMark val="none"/>
        <c:tickLblPos val="low"/>
        <c:spPr>
          <a:noFill/>
          <a:ln w="9525" cap="flat" cmpd="sng" algn="ctr">
            <a:solidFill>
              <a:schemeClr val="tx1"/>
            </a:solidFill>
            <a:round/>
          </a:ln>
          <a:effectLst/>
        </c:spPr>
        <c:txPr>
          <a:bodyPr rot="-60000000" vert="horz"/>
          <a:lstStyle/>
          <a:p>
            <a:pPr>
              <a:defRPr/>
            </a:pPr>
            <a:endParaRPr lang="en-US"/>
          </a:p>
        </c:txPr>
        <c:crossAx val="2052680672"/>
        <c:crosses val="autoZero"/>
        <c:auto val="1"/>
        <c:lblAlgn val="ctr"/>
        <c:lblOffset val="100"/>
        <c:noMultiLvlLbl val="0"/>
      </c:catAx>
      <c:valAx>
        <c:axId val="2052680672"/>
        <c:scaling>
          <c:orientation val="minMax"/>
        </c:scaling>
        <c:delete val="0"/>
        <c:axPos val="b"/>
        <c:majorGridlines>
          <c:spPr>
            <a:ln w="9525" cap="flat" cmpd="sng" algn="ctr">
              <a:noFill/>
              <a:round/>
            </a:ln>
            <a:effectLst/>
          </c:spPr>
        </c:majorGridlines>
        <c:numFmt formatCode="0%" sourceLinked="0"/>
        <c:majorTickMark val="out"/>
        <c:minorTickMark val="none"/>
        <c:tickLblPos val="nextTo"/>
        <c:spPr>
          <a:noFill/>
          <a:ln>
            <a:solidFill>
              <a:schemeClr val="tx1"/>
            </a:solidFill>
          </a:ln>
          <a:effectLst/>
        </c:spPr>
        <c:txPr>
          <a:bodyPr rot="-60000000" vert="horz"/>
          <a:lstStyle/>
          <a:p>
            <a:pPr>
              <a:defRPr/>
            </a:pPr>
            <a:endParaRPr lang="en-US"/>
          </a:p>
        </c:txPr>
        <c:crossAx val="2052677760"/>
        <c:crosses val="autoZero"/>
        <c:crossBetween val="between"/>
        <c:majorUnit val="2.0000000000000004E-2"/>
      </c:valAx>
    </c:plotArea>
    <c:legend>
      <c:legendPos val="b"/>
      <c:layout>
        <c:manualLayout>
          <c:xMode val="edge"/>
          <c:yMode val="edge"/>
          <c:x val="0.3255639892510323"/>
          <c:y val="0.88257037069521804"/>
          <c:w val="0.43946846188995864"/>
          <c:h val="0.10670426706787765"/>
        </c:manualLayout>
      </c:layout>
      <c:overlay val="0"/>
      <c:spPr>
        <a:noFill/>
        <a:ln>
          <a:noFill/>
        </a:ln>
        <a:effectLst/>
      </c:spPr>
      <c:txPr>
        <a:bodyPr rot="0" vert="horz"/>
        <a:lstStyle/>
        <a:p>
          <a:pPr>
            <a:defRPr/>
          </a:pPr>
          <a:endParaRPr lang="en-US"/>
        </a:p>
      </c:txPr>
    </c:legend>
    <c:plotVisOnly val="1"/>
    <c:dispBlanksAs val="gap"/>
    <c:showDLblsOverMax val="0"/>
    <c:extLst/>
  </c:chart>
  <c:spPr>
    <a:solidFill>
      <a:schemeClr val="bg1"/>
    </a:solidFill>
    <a:ln w="9525" cap="flat" cmpd="sng" algn="ctr">
      <a:noFill/>
      <a:round/>
    </a:ln>
    <a:effectLst/>
  </c:spPr>
  <c:txPr>
    <a:bodyPr/>
    <a:lstStyle/>
    <a:p>
      <a:pPr>
        <a:defRPr sz="1050">
          <a:solidFill>
            <a:sysClr val="windowText" lastClr="000000"/>
          </a:solidFill>
          <a:latin typeface="+mj-lt"/>
          <a:ea typeface="Open Sans Light" panose="020B0306030504020204" pitchFamily="34" charset="0"/>
          <a:cs typeface="Open Sans Light" panose="020B0306030504020204" pitchFamily="34" charset="0"/>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3026747696973665E-2"/>
          <c:y val="2.7897181491419058E-2"/>
          <c:w val="0.89753175107374095"/>
          <c:h val="0.76273573643843617"/>
        </c:manualLayout>
      </c:layout>
      <c:areaChart>
        <c:grouping val="standard"/>
        <c:varyColors val="0"/>
        <c:ser>
          <c:idx val="1"/>
          <c:order val="0"/>
          <c:tx>
            <c:v>Nominal retail turnover</c:v>
          </c:tx>
          <c:spPr>
            <a:solidFill>
              <a:srgbClr val="A7A8AA"/>
            </a:solidFill>
            <a:ln w="25400">
              <a:noFill/>
            </a:ln>
          </c:spPr>
          <c:cat>
            <c:numRef>
              <c:f>'Forecast Data Qtr'!$T$3:$HC$3</c:f>
              <c:numCache>
                <c:formatCode>mmm\-yy</c:formatCode>
                <c:ptCount val="192"/>
                <c:pt idx="0">
                  <c:v>30926</c:v>
                </c:pt>
                <c:pt idx="1">
                  <c:v>31017</c:v>
                </c:pt>
                <c:pt idx="2">
                  <c:v>31107</c:v>
                </c:pt>
                <c:pt idx="3">
                  <c:v>31199</c:v>
                </c:pt>
                <c:pt idx="4">
                  <c:v>31291</c:v>
                </c:pt>
                <c:pt idx="5">
                  <c:v>31382</c:v>
                </c:pt>
                <c:pt idx="6">
                  <c:v>31472</c:v>
                </c:pt>
                <c:pt idx="7">
                  <c:v>31564</c:v>
                </c:pt>
                <c:pt idx="8">
                  <c:v>31656</c:v>
                </c:pt>
                <c:pt idx="9">
                  <c:v>31747</c:v>
                </c:pt>
                <c:pt idx="10">
                  <c:v>31837</c:v>
                </c:pt>
                <c:pt idx="11">
                  <c:v>31929</c:v>
                </c:pt>
                <c:pt idx="12">
                  <c:v>32021</c:v>
                </c:pt>
                <c:pt idx="13">
                  <c:v>32112</c:v>
                </c:pt>
                <c:pt idx="14">
                  <c:v>32203</c:v>
                </c:pt>
                <c:pt idx="15">
                  <c:v>32295</c:v>
                </c:pt>
                <c:pt idx="16">
                  <c:v>32387</c:v>
                </c:pt>
                <c:pt idx="17">
                  <c:v>32478</c:v>
                </c:pt>
                <c:pt idx="18">
                  <c:v>32568</c:v>
                </c:pt>
                <c:pt idx="19">
                  <c:v>32660</c:v>
                </c:pt>
                <c:pt idx="20">
                  <c:v>32752</c:v>
                </c:pt>
                <c:pt idx="21">
                  <c:v>32843</c:v>
                </c:pt>
                <c:pt idx="22">
                  <c:v>32933</c:v>
                </c:pt>
                <c:pt idx="23">
                  <c:v>33025</c:v>
                </c:pt>
                <c:pt idx="24">
                  <c:v>33117</c:v>
                </c:pt>
                <c:pt idx="25">
                  <c:v>33208</c:v>
                </c:pt>
                <c:pt idx="26">
                  <c:v>33298</c:v>
                </c:pt>
                <c:pt idx="27">
                  <c:v>33390</c:v>
                </c:pt>
                <c:pt idx="28">
                  <c:v>33482</c:v>
                </c:pt>
                <c:pt idx="29">
                  <c:v>33573</c:v>
                </c:pt>
                <c:pt idx="30">
                  <c:v>33664</c:v>
                </c:pt>
                <c:pt idx="31">
                  <c:v>33756</c:v>
                </c:pt>
                <c:pt idx="32">
                  <c:v>33848</c:v>
                </c:pt>
                <c:pt idx="33">
                  <c:v>33939</c:v>
                </c:pt>
                <c:pt idx="34">
                  <c:v>34029</c:v>
                </c:pt>
                <c:pt idx="35">
                  <c:v>34121</c:v>
                </c:pt>
                <c:pt idx="36">
                  <c:v>34213</c:v>
                </c:pt>
                <c:pt idx="37">
                  <c:v>34304</c:v>
                </c:pt>
                <c:pt idx="38">
                  <c:v>34394</c:v>
                </c:pt>
                <c:pt idx="39">
                  <c:v>34486</c:v>
                </c:pt>
                <c:pt idx="40">
                  <c:v>34578</c:v>
                </c:pt>
                <c:pt idx="41">
                  <c:v>34669</c:v>
                </c:pt>
                <c:pt idx="42">
                  <c:v>34759</c:v>
                </c:pt>
                <c:pt idx="43">
                  <c:v>34851</c:v>
                </c:pt>
                <c:pt idx="44">
                  <c:v>34943</c:v>
                </c:pt>
                <c:pt idx="45">
                  <c:v>35034</c:v>
                </c:pt>
                <c:pt idx="46">
                  <c:v>35125</c:v>
                </c:pt>
                <c:pt idx="47">
                  <c:v>35217</c:v>
                </c:pt>
                <c:pt idx="48">
                  <c:v>35309</c:v>
                </c:pt>
                <c:pt idx="49">
                  <c:v>35400</c:v>
                </c:pt>
                <c:pt idx="50">
                  <c:v>35490</c:v>
                </c:pt>
                <c:pt idx="51">
                  <c:v>35582</c:v>
                </c:pt>
                <c:pt idx="52">
                  <c:v>35674</c:v>
                </c:pt>
                <c:pt idx="53">
                  <c:v>35765</c:v>
                </c:pt>
                <c:pt idx="54">
                  <c:v>35855</c:v>
                </c:pt>
                <c:pt idx="55">
                  <c:v>35947</c:v>
                </c:pt>
                <c:pt idx="56">
                  <c:v>36039</c:v>
                </c:pt>
                <c:pt idx="57">
                  <c:v>36130</c:v>
                </c:pt>
                <c:pt idx="58">
                  <c:v>36220</c:v>
                </c:pt>
                <c:pt idx="59">
                  <c:v>36312</c:v>
                </c:pt>
                <c:pt idx="60">
                  <c:v>36404</c:v>
                </c:pt>
                <c:pt idx="61">
                  <c:v>36495</c:v>
                </c:pt>
                <c:pt idx="62">
                  <c:v>36586</c:v>
                </c:pt>
                <c:pt idx="63">
                  <c:v>36678</c:v>
                </c:pt>
                <c:pt idx="64">
                  <c:v>36770</c:v>
                </c:pt>
                <c:pt idx="65">
                  <c:v>36861</c:v>
                </c:pt>
                <c:pt idx="66">
                  <c:v>36951</c:v>
                </c:pt>
                <c:pt idx="67">
                  <c:v>37043</c:v>
                </c:pt>
                <c:pt idx="68">
                  <c:v>37135</c:v>
                </c:pt>
                <c:pt idx="69">
                  <c:v>37226</c:v>
                </c:pt>
                <c:pt idx="70">
                  <c:v>37316</c:v>
                </c:pt>
                <c:pt idx="71">
                  <c:v>37408</c:v>
                </c:pt>
                <c:pt idx="72">
                  <c:v>37500</c:v>
                </c:pt>
                <c:pt idx="73">
                  <c:v>37591</c:v>
                </c:pt>
                <c:pt idx="74">
                  <c:v>37681</c:v>
                </c:pt>
                <c:pt idx="75">
                  <c:v>37773</c:v>
                </c:pt>
                <c:pt idx="76">
                  <c:v>37865</c:v>
                </c:pt>
                <c:pt idx="77">
                  <c:v>37956</c:v>
                </c:pt>
                <c:pt idx="78">
                  <c:v>38047</c:v>
                </c:pt>
                <c:pt idx="79">
                  <c:v>38139</c:v>
                </c:pt>
                <c:pt idx="80">
                  <c:v>38231</c:v>
                </c:pt>
                <c:pt idx="81">
                  <c:v>38322</c:v>
                </c:pt>
                <c:pt idx="82">
                  <c:v>38412</c:v>
                </c:pt>
                <c:pt idx="83">
                  <c:v>38504</c:v>
                </c:pt>
                <c:pt idx="84">
                  <c:v>38596</c:v>
                </c:pt>
                <c:pt idx="85">
                  <c:v>38687</c:v>
                </c:pt>
                <c:pt idx="86">
                  <c:v>38777</c:v>
                </c:pt>
                <c:pt idx="87">
                  <c:v>38869</c:v>
                </c:pt>
                <c:pt idx="88">
                  <c:v>38961</c:v>
                </c:pt>
                <c:pt idx="89">
                  <c:v>39052</c:v>
                </c:pt>
                <c:pt idx="90">
                  <c:v>39142</c:v>
                </c:pt>
                <c:pt idx="91">
                  <c:v>39234</c:v>
                </c:pt>
                <c:pt idx="92">
                  <c:v>39326</c:v>
                </c:pt>
                <c:pt idx="93">
                  <c:v>39417</c:v>
                </c:pt>
                <c:pt idx="94">
                  <c:v>39508</c:v>
                </c:pt>
                <c:pt idx="95">
                  <c:v>39600</c:v>
                </c:pt>
                <c:pt idx="96">
                  <c:v>39692</c:v>
                </c:pt>
                <c:pt idx="97">
                  <c:v>39783</c:v>
                </c:pt>
                <c:pt idx="98">
                  <c:v>39873</c:v>
                </c:pt>
                <c:pt idx="99">
                  <c:v>39965</c:v>
                </c:pt>
                <c:pt idx="100">
                  <c:v>40057</c:v>
                </c:pt>
                <c:pt idx="101">
                  <c:v>40148</c:v>
                </c:pt>
                <c:pt idx="102">
                  <c:v>40238</c:v>
                </c:pt>
                <c:pt idx="103">
                  <c:v>40330</c:v>
                </c:pt>
                <c:pt idx="104">
                  <c:v>40422</c:v>
                </c:pt>
                <c:pt idx="105">
                  <c:v>40513</c:v>
                </c:pt>
                <c:pt idx="106">
                  <c:v>40603</c:v>
                </c:pt>
                <c:pt idx="107">
                  <c:v>40695</c:v>
                </c:pt>
                <c:pt idx="108">
                  <c:v>40787</c:v>
                </c:pt>
                <c:pt idx="109">
                  <c:v>40878</c:v>
                </c:pt>
                <c:pt idx="110">
                  <c:v>40969</c:v>
                </c:pt>
                <c:pt idx="111">
                  <c:v>41061</c:v>
                </c:pt>
                <c:pt idx="112">
                  <c:v>41153</c:v>
                </c:pt>
                <c:pt idx="113">
                  <c:v>41244</c:v>
                </c:pt>
                <c:pt idx="114">
                  <c:v>41334</c:v>
                </c:pt>
                <c:pt idx="115">
                  <c:v>41426</c:v>
                </c:pt>
                <c:pt idx="116">
                  <c:v>41518</c:v>
                </c:pt>
                <c:pt idx="117">
                  <c:v>41609</c:v>
                </c:pt>
                <c:pt idx="118">
                  <c:v>41699</c:v>
                </c:pt>
                <c:pt idx="119">
                  <c:v>41791</c:v>
                </c:pt>
                <c:pt idx="120">
                  <c:v>41883</c:v>
                </c:pt>
                <c:pt idx="121">
                  <c:v>41974</c:v>
                </c:pt>
                <c:pt idx="122">
                  <c:v>42064</c:v>
                </c:pt>
                <c:pt idx="123">
                  <c:v>42156</c:v>
                </c:pt>
                <c:pt idx="124">
                  <c:v>42248</c:v>
                </c:pt>
                <c:pt idx="125">
                  <c:v>42339</c:v>
                </c:pt>
                <c:pt idx="126">
                  <c:v>42430</c:v>
                </c:pt>
                <c:pt idx="127">
                  <c:v>42522</c:v>
                </c:pt>
                <c:pt idx="128">
                  <c:v>42614</c:v>
                </c:pt>
                <c:pt idx="129">
                  <c:v>42705</c:v>
                </c:pt>
                <c:pt idx="130">
                  <c:v>42795</c:v>
                </c:pt>
                <c:pt idx="131">
                  <c:v>42887</c:v>
                </c:pt>
                <c:pt idx="132">
                  <c:v>42979</c:v>
                </c:pt>
                <c:pt idx="133">
                  <c:v>43070</c:v>
                </c:pt>
                <c:pt idx="134">
                  <c:v>43160</c:v>
                </c:pt>
                <c:pt idx="135">
                  <c:v>43252</c:v>
                </c:pt>
                <c:pt idx="136">
                  <c:v>43344</c:v>
                </c:pt>
                <c:pt idx="137">
                  <c:v>43435</c:v>
                </c:pt>
                <c:pt idx="138">
                  <c:v>43525</c:v>
                </c:pt>
                <c:pt idx="139">
                  <c:v>43617</c:v>
                </c:pt>
                <c:pt idx="140">
                  <c:v>43709</c:v>
                </c:pt>
                <c:pt idx="141">
                  <c:v>43800</c:v>
                </c:pt>
                <c:pt idx="142">
                  <c:v>43891</c:v>
                </c:pt>
                <c:pt idx="143">
                  <c:v>43983</c:v>
                </c:pt>
                <c:pt idx="144">
                  <c:v>44075</c:v>
                </c:pt>
                <c:pt idx="145">
                  <c:v>44166</c:v>
                </c:pt>
                <c:pt idx="146">
                  <c:v>44256</c:v>
                </c:pt>
                <c:pt idx="147">
                  <c:v>44348</c:v>
                </c:pt>
                <c:pt idx="148">
                  <c:v>44440</c:v>
                </c:pt>
                <c:pt idx="149">
                  <c:v>44531</c:v>
                </c:pt>
                <c:pt idx="150">
                  <c:v>44621</c:v>
                </c:pt>
                <c:pt idx="151">
                  <c:v>44713</c:v>
                </c:pt>
                <c:pt idx="152">
                  <c:v>44805</c:v>
                </c:pt>
                <c:pt idx="153">
                  <c:v>44896</c:v>
                </c:pt>
                <c:pt idx="154">
                  <c:v>44986</c:v>
                </c:pt>
                <c:pt idx="155">
                  <c:v>45078</c:v>
                </c:pt>
                <c:pt idx="156">
                  <c:v>45170</c:v>
                </c:pt>
                <c:pt idx="157">
                  <c:v>45261</c:v>
                </c:pt>
                <c:pt idx="158">
                  <c:v>45352</c:v>
                </c:pt>
                <c:pt idx="159">
                  <c:v>45444</c:v>
                </c:pt>
                <c:pt idx="160">
                  <c:v>45536</c:v>
                </c:pt>
                <c:pt idx="161">
                  <c:v>45627</c:v>
                </c:pt>
                <c:pt idx="162">
                  <c:v>45717</c:v>
                </c:pt>
                <c:pt idx="163">
                  <c:v>45809</c:v>
                </c:pt>
                <c:pt idx="164">
                  <c:v>45901</c:v>
                </c:pt>
                <c:pt idx="165">
                  <c:v>45992</c:v>
                </c:pt>
                <c:pt idx="166">
                  <c:v>46082</c:v>
                </c:pt>
                <c:pt idx="167">
                  <c:v>46174</c:v>
                </c:pt>
                <c:pt idx="168">
                  <c:v>46266</c:v>
                </c:pt>
                <c:pt idx="169">
                  <c:v>46357</c:v>
                </c:pt>
                <c:pt idx="170">
                  <c:v>46447</c:v>
                </c:pt>
                <c:pt idx="171">
                  <c:v>46539</c:v>
                </c:pt>
                <c:pt idx="172">
                  <c:v>46631</c:v>
                </c:pt>
                <c:pt idx="173">
                  <c:v>46722</c:v>
                </c:pt>
                <c:pt idx="174">
                  <c:v>46813</c:v>
                </c:pt>
                <c:pt idx="175">
                  <c:v>46905</c:v>
                </c:pt>
                <c:pt idx="176">
                  <c:v>46997</c:v>
                </c:pt>
                <c:pt idx="177">
                  <c:v>47088</c:v>
                </c:pt>
                <c:pt idx="178">
                  <c:v>47178</c:v>
                </c:pt>
                <c:pt idx="179">
                  <c:v>47270</c:v>
                </c:pt>
                <c:pt idx="180">
                  <c:v>47362</c:v>
                </c:pt>
                <c:pt idx="181">
                  <c:v>47453</c:v>
                </c:pt>
                <c:pt idx="182">
                  <c:v>47543</c:v>
                </c:pt>
                <c:pt idx="183">
                  <c:v>47635</c:v>
                </c:pt>
                <c:pt idx="184">
                  <c:v>47727</c:v>
                </c:pt>
                <c:pt idx="185">
                  <c:v>47818</c:v>
                </c:pt>
                <c:pt idx="186">
                  <c:v>47908</c:v>
                </c:pt>
                <c:pt idx="187">
                  <c:v>48000</c:v>
                </c:pt>
                <c:pt idx="188">
                  <c:v>48092</c:v>
                </c:pt>
                <c:pt idx="189">
                  <c:v>48183</c:v>
                </c:pt>
                <c:pt idx="190">
                  <c:v>48274</c:v>
                </c:pt>
                <c:pt idx="191">
                  <c:v>48366</c:v>
                </c:pt>
              </c:numCache>
            </c:numRef>
          </c:cat>
          <c:val>
            <c:numRef>
              <c:f>'Forecast Data Qtr'!$T$163:$HC$163</c:f>
              <c:numCache>
                <c:formatCode>0.0%</c:formatCode>
                <c:ptCount val="192"/>
                <c:pt idx="0">
                  <c:v>6.9128144119646295E-2</c:v>
                </c:pt>
                <c:pt idx="1">
                  <c:v>7.1842815457454412E-2</c:v>
                </c:pt>
                <c:pt idx="2">
                  <c:v>7.6038731492392042E-2</c:v>
                </c:pt>
                <c:pt idx="3">
                  <c:v>0.1068214465182149</c:v>
                </c:pt>
                <c:pt idx="4">
                  <c:v>0.11484123514684241</c:v>
                </c:pt>
                <c:pt idx="5">
                  <c:v>0.12959373508527539</c:v>
                </c:pt>
                <c:pt idx="6">
                  <c:v>0.10971185343185796</c:v>
                </c:pt>
                <c:pt idx="7">
                  <c:v>0.11086143009135241</c:v>
                </c:pt>
                <c:pt idx="8">
                  <c:v>0.10354822610973957</c:v>
                </c:pt>
                <c:pt idx="9">
                  <c:v>7.812877246231853E-2</c:v>
                </c:pt>
                <c:pt idx="10">
                  <c:v>9.4527512603239217E-2</c:v>
                </c:pt>
                <c:pt idx="11">
                  <c:v>7.1708706601164129E-2</c:v>
                </c:pt>
                <c:pt idx="12">
                  <c:v>8.0878864413178375E-2</c:v>
                </c:pt>
                <c:pt idx="13">
                  <c:v>8.7087183158012449E-2</c:v>
                </c:pt>
                <c:pt idx="14">
                  <c:v>7.9801808652839812E-2</c:v>
                </c:pt>
                <c:pt idx="15">
                  <c:v>9.5577812018489805E-2</c:v>
                </c:pt>
                <c:pt idx="16">
                  <c:v>8.0140908734324334E-2</c:v>
                </c:pt>
                <c:pt idx="17">
                  <c:v>9.9840716884378011E-2</c:v>
                </c:pt>
                <c:pt idx="18">
                  <c:v>0.11631967763599738</c:v>
                </c:pt>
                <c:pt idx="19">
                  <c:v>0.10066030969157436</c:v>
                </c:pt>
                <c:pt idx="20">
                  <c:v>0.10772141216833142</c:v>
                </c:pt>
                <c:pt idx="21">
                  <c:v>9.2466486500949907E-2</c:v>
                </c:pt>
                <c:pt idx="22">
                  <c:v>7.1897550299667934E-2</c:v>
                </c:pt>
                <c:pt idx="23">
                  <c:v>6.7978315939445588E-2</c:v>
                </c:pt>
                <c:pt idx="24">
                  <c:v>4.7300735893296864E-2</c:v>
                </c:pt>
                <c:pt idx="25">
                  <c:v>2.7964363346906218E-2</c:v>
                </c:pt>
                <c:pt idx="26">
                  <c:v>3.5583830881995793E-2</c:v>
                </c:pt>
                <c:pt idx="27">
                  <c:v>2.1341764352224013E-2</c:v>
                </c:pt>
                <c:pt idx="28">
                  <c:v>5.6269209786519836E-2</c:v>
                </c:pt>
                <c:pt idx="29">
                  <c:v>6.4164115271440725E-2</c:v>
                </c:pt>
                <c:pt idx="30">
                  <c:v>5.6854502043387267E-2</c:v>
                </c:pt>
                <c:pt idx="31">
                  <c:v>7.5558783562157616E-2</c:v>
                </c:pt>
                <c:pt idx="32">
                  <c:v>2.9499091206719452E-2</c:v>
                </c:pt>
                <c:pt idx="33">
                  <c:v>3.420858195170573E-2</c:v>
                </c:pt>
                <c:pt idx="34">
                  <c:v>3.4306116113008489E-2</c:v>
                </c:pt>
                <c:pt idx="35">
                  <c:v>2.5399176596161865E-2</c:v>
                </c:pt>
                <c:pt idx="36">
                  <c:v>3.3931156241775673E-2</c:v>
                </c:pt>
                <c:pt idx="37">
                  <c:v>5.1419231404131072E-2</c:v>
                </c:pt>
                <c:pt idx="38">
                  <c:v>5.7653137797217147E-2</c:v>
                </c:pt>
                <c:pt idx="39">
                  <c:v>5.8868672062541094E-2</c:v>
                </c:pt>
                <c:pt idx="40">
                  <c:v>8.3957098728605795E-2</c:v>
                </c:pt>
                <c:pt idx="41">
                  <c:v>6.3263772353371106E-2</c:v>
                </c:pt>
                <c:pt idx="42">
                  <c:v>6.7073788769511422E-2</c:v>
                </c:pt>
                <c:pt idx="43">
                  <c:v>8.7821282849282589E-2</c:v>
                </c:pt>
                <c:pt idx="44">
                  <c:v>7.9572612148949728E-2</c:v>
                </c:pt>
                <c:pt idx="45">
                  <c:v>8.3793257034411983E-2</c:v>
                </c:pt>
                <c:pt idx="46">
                  <c:v>6.9751371375650129E-2</c:v>
                </c:pt>
                <c:pt idx="47">
                  <c:v>4.9841852401722786E-2</c:v>
                </c:pt>
                <c:pt idx="48">
                  <c:v>3.5825068711353714E-2</c:v>
                </c:pt>
                <c:pt idx="49">
                  <c:v>2.1191437658578671E-2</c:v>
                </c:pt>
                <c:pt idx="50">
                  <c:v>3.71645544892929E-2</c:v>
                </c:pt>
                <c:pt idx="51">
                  <c:v>2.8074713653292172E-2</c:v>
                </c:pt>
                <c:pt idx="52">
                  <c:v>4.0988734551022699E-2</c:v>
                </c:pt>
                <c:pt idx="53">
                  <c:v>5.3981050531914931E-2</c:v>
                </c:pt>
                <c:pt idx="54">
                  <c:v>3.6509176520947983E-2</c:v>
                </c:pt>
                <c:pt idx="55">
                  <c:v>4.1864508508534071E-2</c:v>
                </c:pt>
                <c:pt idx="56">
                  <c:v>4.2917661298456977E-2</c:v>
                </c:pt>
                <c:pt idx="57">
                  <c:v>3.8580858565212317E-2</c:v>
                </c:pt>
                <c:pt idx="58">
                  <c:v>6.6706863548793072E-2</c:v>
                </c:pt>
                <c:pt idx="59">
                  <c:v>7.1823804730440699E-2</c:v>
                </c:pt>
                <c:pt idx="60">
                  <c:v>6.9601379777236794E-2</c:v>
                </c:pt>
                <c:pt idx="61">
                  <c:v>7.467696592732298E-2</c:v>
                </c:pt>
                <c:pt idx="62">
                  <c:v>3.499887724840689E-2</c:v>
                </c:pt>
                <c:pt idx="63">
                  <c:v>6.298069474437229E-2</c:v>
                </c:pt>
                <c:pt idx="64">
                  <c:v>3.0739032807390432E-2</c:v>
                </c:pt>
                <c:pt idx="65">
                  <c:v>4.2348995285053537E-2</c:v>
                </c:pt>
                <c:pt idx="66">
                  <c:v>8.2335206146618045E-2</c:v>
                </c:pt>
                <c:pt idx="67">
                  <c:v>6.23279315072931E-2</c:v>
                </c:pt>
                <c:pt idx="68">
                  <c:v>9.1893986190864307E-2</c:v>
                </c:pt>
                <c:pt idx="69">
                  <c:v>8.9675764569904004E-2</c:v>
                </c:pt>
                <c:pt idx="70">
                  <c:v>8.0039399332976435E-2</c:v>
                </c:pt>
                <c:pt idx="71">
                  <c:v>7.9362982235050339E-2</c:v>
                </c:pt>
                <c:pt idx="72">
                  <c:v>8.0906376369138888E-2</c:v>
                </c:pt>
                <c:pt idx="73">
                  <c:v>7.2608762550784078E-2</c:v>
                </c:pt>
                <c:pt idx="74">
                  <c:v>5.8124056012082814E-2</c:v>
                </c:pt>
                <c:pt idx="75">
                  <c:v>5.8656999827377598E-2</c:v>
                </c:pt>
                <c:pt idx="76">
                  <c:v>7.2286208914916994E-2</c:v>
                </c:pt>
                <c:pt idx="77">
                  <c:v>8.7434912922188746E-2</c:v>
                </c:pt>
                <c:pt idx="78">
                  <c:v>9.3964338853472329E-2</c:v>
                </c:pt>
                <c:pt idx="79">
                  <c:v>8.3681189668666667E-2</c:v>
                </c:pt>
                <c:pt idx="80">
                  <c:v>7.0168496814329684E-2</c:v>
                </c:pt>
                <c:pt idx="81">
                  <c:v>4.0113953716827577E-2</c:v>
                </c:pt>
                <c:pt idx="82">
                  <c:v>2.9725852064609981E-2</c:v>
                </c:pt>
                <c:pt idx="83">
                  <c:v>2.2745055125434233E-2</c:v>
                </c:pt>
                <c:pt idx="84">
                  <c:v>2.1663387606501772E-2</c:v>
                </c:pt>
                <c:pt idx="85">
                  <c:v>2.7567819913270286E-2</c:v>
                </c:pt>
                <c:pt idx="86">
                  <c:v>4.140760070014915E-2</c:v>
                </c:pt>
                <c:pt idx="87">
                  <c:v>6.1881426477354173E-2</c:v>
                </c:pt>
                <c:pt idx="88">
                  <c:v>6.1628275570583479E-2</c:v>
                </c:pt>
                <c:pt idx="89">
                  <c:v>7.2317505836504647E-2</c:v>
                </c:pt>
                <c:pt idx="90">
                  <c:v>7.9442456614318813E-2</c:v>
                </c:pt>
                <c:pt idx="91">
                  <c:v>6.6124571134924537E-2</c:v>
                </c:pt>
                <c:pt idx="92">
                  <c:v>8.0524521635273238E-2</c:v>
                </c:pt>
                <c:pt idx="93">
                  <c:v>8.0892707142000031E-2</c:v>
                </c:pt>
                <c:pt idx="94">
                  <c:v>5.6819023100639354E-2</c:v>
                </c:pt>
                <c:pt idx="95">
                  <c:v>4.7435424877370957E-2</c:v>
                </c:pt>
                <c:pt idx="96">
                  <c:v>2.8082772215211493E-2</c:v>
                </c:pt>
                <c:pt idx="97">
                  <c:v>3.3090750902887045E-2</c:v>
                </c:pt>
                <c:pt idx="98">
                  <c:v>5.5696288345291167E-2</c:v>
                </c:pt>
                <c:pt idx="99">
                  <c:v>7.4071066356270254E-2</c:v>
                </c:pt>
                <c:pt idx="100">
                  <c:v>5.5482509682000414E-2</c:v>
                </c:pt>
                <c:pt idx="101">
                  <c:v>5.0604539363594325E-2</c:v>
                </c:pt>
                <c:pt idx="102">
                  <c:v>2.5487400786005976E-2</c:v>
                </c:pt>
                <c:pt idx="103">
                  <c:v>1.8834796488427674E-2</c:v>
                </c:pt>
                <c:pt idx="104">
                  <c:v>3.9987946105509709E-2</c:v>
                </c:pt>
                <c:pt idx="105">
                  <c:v>1.9664287607950026E-2</c:v>
                </c:pt>
                <c:pt idx="106">
                  <c:v>2.8389889767658438E-2</c:v>
                </c:pt>
                <c:pt idx="107">
                  <c:v>2.2089926366912094E-2</c:v>
                </c:pt>
                <c:pt idx="108">
                  <c:v>2.1279027057911293E-2</c:v>
                </c:pt>
                <c:pt idx="109">
                  <c:v>3.2004602209797728E-2</c:v>
                </c:pt>
                <c:pt idx="110">
                  <c:v>2.6826743525208974E-2</c:v>
                </c:pt>
                <c:pt idx="111">
                  <c:v>3.9733857175126674E-2</c:v>
                </c:pt>
                <c:pt idx="112">
                  <c:v>3.6726155272454042E-2</c:v>
                </c:pt>
                <c:pt idx="113">
                  <c:v>2.8347887497173208E-2</c:v>
                </c:pt>
                <c:pt idx="114">
                  <c:v>3.7254619023240121E-2</c:v>
                </c:pt>
                <c:pt idx="115">
                  <c:v>2.2204548760972109E-2</c:v>
                </c:pt>
                <c:pt idx="116">
                  <c:v>2.6837217101041366E-2</c:v>
                </c:pt>
                <c:pt idx="117">
                  <c:v>4.8450569462020976E-2</c:v>
                </c:pt>
                <c:pt idx="118">
                  <c:v>5.6507554159742845E-2</c:v>
                </c:pt>
                <c:pt idx="119">
                  <c:v>5.4883371412522974E-2</c:v>
                </c:pt>
                <c:pt idx="120">
                  <c:v>5.886702928336307E-2</c:v>
                </c:pt>
                <c:pt idx="121">
                  <c:v>5.0984360625575098E-2</c:v>
                </c:pt>
                <c:pt idx="122">
                  <c:v>4.2597709940187301E-2</c:v>
                </c:pt>
                <c:pt idx="123">
                  <c:v>4.7602600495778136E-2</c:v>
                </c:pt>
                <c:pt idx="124">
                  <c:v>4.4700243548793095E-2</c:v>
                </c:pt>
                <c:pt idx="125">
                  <c:v>4.3332574709826543E-2</c:v>
                </c:pt>
                <c:pt idx="126">
                  <c:v>3.951475055881204E-2</c:v>
                </c:pt>
                <c:pt idx="127">
                  <c:v>3.3821236494515627E-2</c:v>
                </c:pt>
                <c:pt idx="128">
                  <c:v>3.2061027255945174E-2</c:v>
                </c:pt>
                <c:pt idx="129">
                  <c:v>3.2649732701078182E-2</c:v>
                </c:pt>
                <c:pt idx="130">
                  <c:v>2.6309307450087083E-2</c:v>
                </c:pt>
                <c:pt idx="131">
                  <c:v>3.4375768206068136E-2</c:v>
                </c:pt>
                <c:pt idx="132">
                  <c:v>2.4265460188862775E-2</c:v>
                </c:pt>
                <c:pt idx="133">
                  <c:v>2.3021676253615286E-2</c:v>
                </c:pt>
                <c:pt idx="134">
                  <c:v>2.8086790127460848E-2</c:v>
                </c:pt>
                <c:pt idx="135">
                  <c:v>2.5849942512862434E-2</c:v>
                </c:pt>
                <c:pt idx="136">
                  <c:v>3.3892320137649312E-2</c:v>
                </c:pt>
                <c:pt idx="137">
                  <c:v>3.1277597412911584E-2</c:v>
                </c:pt>
                <c:pt idx="138">
                  <c:v>3.2019937537461907E-2</c:v>
                </c:pt>
                <c:pt idx="139">
                  <c:v>2.5148470836477088E-2</c:v>
                </c:pt>
                <c:pt idx="140">
                  <c:v>2.4500580611908962E-2</c:v>
                </c:pt>
                <c:pt idx="141">
                  <c:v>2.6897486446525454E-2</c:v>
                </c:pt>
                <c:pt idx="142">
                  <c:v>4.6903466405820105E-2</c:v>
                </c:pt>
                <c:pt idx="143">
                  <c:v>1.6599940144629954E-2</c:v>
                </c:pt>
                <c:pt idx="144">
                  <c:v>8.2750064400769485E-2</c:v>
                </c:pt>
                <c:pt idx="145">
                  <c:v>0.10261247195325329</c:v>
                </c:pt>
                <c:pt idx="146">
                  <c:v>7.2006465995491764E-2</c:v>
                </c:pt>
                <c:pt idx="147">
                  <c:v>0.11125172447199416</c:v>
                </c:pt>
                <c:pt idx="148">
                  <c:v>-7.1268303315734638E-3</c:v>
                </c:pt>
                <c:pt idx="149">
                  <c:v>5.1333365752568971E-2</c:v>
                </c:pt>
                <c:pt idx="150">
                  <c:v>8.4510022520049466E-2</c:v>
                </c:pt>
                <c:pt idx="151">
                  <c:v>0.1059962159716008</c:v>
                </c:pt>
                <c:pt idx="152">
                  <c:v>0.17707848727498043</c:v>
                </c:pt>
                <c:pt idx="153">
                  <c:v>9.2258475724820155E-2</c:v>
                </c:pt>
                <c:pt idx="154">
                  <c:v>6.5373205080712316E-2</c:v>
                </c:pt>
                <c:pt idx="155">
                  <c:v>3.5434616813806663E-2</c:v>
                </c:pt>
                <c:pt idx="156">
                  <c:v>1.8620790926319852E-2</c:v>
                </c:pt>
                <c:pt idx="157">
                  <c:v>1.3842580729990006E-2</c:v>
                </c:pt>
                <c:pt idx="158">
                  <c:v>1.1878765983860617E-2</c:v>
                </c:pt>
                <c:pt idx="159">
                  <c:v>2.0010727100771231E-2</c:v>
                </c:pt>
                <c:pt idx="160">
                  <c:v>2.8384162424371029E-2</c:v>
                </c:pt>
                <c:pt idx="161">
                  <c:v>3.706599786565401E-2</c:v>
                </c:pt>
                <c:pt idx="162">
                  <c:v>4.1494469841834691E-2</c:v>
                </c:pt>
                <c:pt idx="163">
                  <c:v>4.3962911611205024E-2</c:v>
                </c:pt>
                <c:pt idx="164">
                  <c:v>4.122606290418096E-2</c:v>
                </c:pt>
                <c:pt idx="165">
                  <c:v>3.7163221415880354E-2</c:v>
                </c:pt>
                <c:pt idx="166">
                  <c:v>3.8656623743514196E-2</c:v>
                </c:pt>
                <c:pt idx="167">
                  <c:v>3.8281810686668027E-2</c:v>
                </c:pt>
                <c:pt idx="168">
                  <c:v>3.9199049355069793E-2</c:v>
                </c:pt>
                <c:pt idx="169">
                  <c:v>3.9928378082941141E-2</c:v>
                </c:pt>
                <c:pt idx="170">
                  <c:v>4.1529759689038048E-2</c:v>
                </c:pt>
                <c:pt idx="171">
                  <c:v>4.3862953427391993E-2</c:v>
                </c:pt>
                <c:pt idx="172">
                  <c:v>4.462007327761186E-2</c:v>
                </c:pt>
                <c:pt idx="173">
                  <c:v>4.4748755203639412E-2</c:v>
                </c:pt>
                <c:pt idx="174">
                  <c:v>4.5742799791341771E-2</c:v>
                </c:pt>
                <c:pt idx="175">
                  <c:v>4.5086600556421441E-2</c:v>
                </c:pt>
                <c:pt idx="176">
                  <c:v>4.5189584053416443E-2</c:v>
                </c:pt>
                <c:pt idx="177">
                  <c:v>4.4902723799197908E-2</c:v>
                </c:pt>
                <c:pt idx="178">
                  <c:v>4.3637504342831868E-2</c:v>
                </c:pt>
                <c:pt idx="179">
                  <c:v>4.4284289473122129E-2</c:v>
                </c:pt>
                <c:pt idx="180">
                  <c:v>4.3387153783423837E-2</c:v>
                </c:pt>
                <c:pt idx="181">
                  <c:v>4.3200030324576089E-2</c:v>
                </c:pt>
                <c:pt idx="182">
                  <c:v>4.3212403222386842E-2</c:v>
                </c:pt>
                <c:pt idx="183">
                  <c:v>4.3030841287171828E-2</c:v>
                </c:pt>
                <c:pt idx="184">
                  <c:v>4.364945380542351E-2</c:v>
                </c:pt>
                <c:pt idx="185">
                  <c:v>4.4029113257694652E-2</c:v>
                </c:pt>
                <c:pt idx="186">
                  <c:v>4.4162205139672617E-2</c:v>
                </c:pt>
                <c:pt idx="187">
                  <c:v>4.5294965177653301E-2</c:v>
                </c:pt>
                <c:pt idx="188">
                  <c:v>4.5931072965474273E-2</c:v>
                </c:pt>
                <c:pt idx="189">
                  <c:v>4.6925554716420459E-2</c:v>
                </c:pt>
                <c:pt idx="190">
                  <c:v>4.6897164499107635E-2</c:v>
                </c:pt>
                <c:pt idx="191">
                  <c:v>4.848973607681728E-2</c:v>
                </c:pt>
              </c:numCache>
            </c:numRef>
          </c:val>
          <c:extLst>
            <c:ext xmlns:c16="http://schemas.microsoft.com/office/drawing/2014/chart" uri="{C3380CC4-5D6E-409C-BE32-E72D297353CC}">
              <c16:uniqueId val="{00000000-4EE7-4ECA-BE1C-A3BED74112C8}"/>
            </c:ext>
          </c:extLst>
        </c:ser>
        <c:ser>
          <c:idx val="0"/>
          <c:order val="1"/>
          <c:tx>
            <c:v>Real retail turnover</c:v>
          </c:tx>
          <c:spPr>
            <a:solidFill>
              <a:srgbClr val="0076A8"/>
            </a:solidFill>
            <a:ln w="25400">
              <a:noFill/>
            </a:ln>
          </c:spPr>
          <c:cat>
            <c:numRef>
              <c:f>'Forecast Data Qtr'!$T$3:$HC$3</c:f>
              <c:numCache>
                <c:formatCode>mmm\-yy</c:formatCode>
                <c:ptCount val="192"/>
                <c:pt idx="0">
                  <c:v>30926</c:v>
                </c:pt>
                <c:pt idx="1">
                  <c:v>31017</c:v>
                </c:pt>
                <c:pt idx="2">
                  <c:v>31107</c:v>
                </c:pt>
                <c:pt idx="3">
                  <c:v>31199</c:v>
                </c:pt>
                <c:pt idx="4">
                  <c:v>31291</c:v>
                </c:pt>
                <c:pt idx="5">
                  <c:v>31382</c:v>
                </c:pt>
                <c:pt idx="6">
                  <c:v>31472</c:v>
                </c:pt>
                <c:pt idx="7">
                  <c:v>31564</c:v>
                </c:pt>
                <c:pt idx="8">
                  <c:v>31656</c:v>
                </c:pt>
                <c:pt idx="9">
                  <c:v>31747</c:v>
                </c:pt>
                <c:pt idx="10">
                  <c:v>31837</c:v>
                </c:pt>
                <c:pt idx="11">
                  <c:v>31929</c:v>
                </c:pt>
                <c:pt idx="12">
                  <c:v>32021</c:v>
                </c:pt>
                <c:pt idx="13">
                  <c:v>32112</c:v>
                </c:pt>
                <c:pt idx="14">
                  <c:v>32203</c:v>
                </c:pt>
                <c:pt idx="15">
                  <c:v>32295</c:v>
                </c:pt>
                <c:pt idx="16">
                  <c:v>32387</c:v>
                </c:pt>
                <c:pt idx="17">
                  <c:v>32478</c:v>
                </c:pt>
                <c:pt idx="18">
                  <c:v>32568</c:v>
                </c:pt>
                <c:pt idx="19">
                  <c:v>32660</c:v>
                </c:pt>
                <c:pt idx="20">
                  <c:v>32752</c:v>
                </c:pt>
                <c:pt idx="21">
                  <c:v>32843</c:v>
                </c:pt>
                <c:pt idx="22">
                  <c:v>32933</c:v>
                </c:pt>
                <c:pt idx="23">
                  <c:v>33025</c:v>
                </c:pt>
                <c:pt idx="24">
                  <c:v>33117</c:v>
                </c:pt>
                <c:pt idx="25">
                  <c:v>33208</c:v>
                </c:pt>
                <c:pt idx="26">
                  <c:v>33298</c:v>
                </c:pt>
                <c:pt idx="27">
                  <c:v>33390</c:v>
                </c:pt>
                <c:pt idx="28">
                  <c:v>33482</c:v>
                </c:pt>
                <c:pt idx="29">
                  <c:v>33573</c:v>
                </c:pt>
                <c:pt idx="30">
                  <c:v>33664</c:v>
                </c:pt>
                <c:pt idx="31">
                  <c:v>33756</c:v>
                </c:pt>
                <c:pt idx="32">
                  <c:v>33848</c:v>
                </c:pt>
                <c:pt idx="33">
                  <c:v>33939</c:v>
                </c:pt>
                <c:pt idx="34">
                  <c:v>34029</c:v>
                </c:pt>
                <c:pt idx="35">
                  <c:v>34121</c:v>
                </c:pt>
                <c:pt idx="36">
                  <c:v>34213</c:v>
                </c:pt>
                <c:pt idx="37">
                  <c:v>34304</c:v>
                </c:pt>
                <c:pt idx="38">
                  <c:v>34394</c:v>
                </c:pt>
                <c:pt idx="39">
                  <c:v>34486</c:v>
                </c:pt>
                <c:pt idx="40">
                  <c:v>34578</c:v>
                </c:pt>
                <c:pt idx="41">
                  <c:v>34669</c:v>
                </c:pt>
                <c:pt idx="42">
                  <c:v>34759</c:v>
                </c:pt>
                <c:pt idx="43">
                  <c:v>34851</c:v>
                </c:pt>
                <c:pt idx="44">
                  <c:v>34943</c:v>
                </c:pt>
                <c:pt idx="45">
                  <c:v>35034</c:v>
                </c:pt>
                <c:pt idx="46">
                  <c:v>35125</c:v>
                </c:pt>
                <c:pt idx="47">
                  <c:v>35217</c:v>
                </c:pt>
                <c:pt idx="48">
                  <c:v>35309</c:v>
                </c:pt>
                <c:pt idx="49">
                  <c:v>35400</c:v>
                </c:pt>
                <c:pt idx="50">
                  <c:v>35490</c:v>
                </c:pt>
                <c:pt idx="51">
                  <c:v>35582</c:v>
                </c:pt>
                <c:pt idx="52">
                  <c:v>35674</c:v>
                </c:pt>
                <c:pt idx="53">
                  <c:v>35765</c:v>
                </c:pt>
                <c:pt idx="54">
                  <c:v>35855</c:v>
                </c:pt>
                <c:pt idx="55">
                  <c:v>35947</c:v>
                </c:pt>
                <c:pt idx="56">
                  <c:v>36039</c:v>
                </c:pt>
                <c:pt idx="57">
                  <c:v>36130</c:v>
                </c:pt>
                <c:pt idx="58">
                  <c:v>36220</c:v>
                </c:pt>
                <c:pt idx="59">
                  <c:v>36312</c:v>
                </c:pt>
                <c:pt idx="60">
                  <c:v>36404</c:v>
                </c:pt>
                <c:pt idx="61">
                  <c:v>36495</c:v>
                </c:pt>
                <c:pt idx="62">
                  <c:v>36586</c:v>
                </c:pt>
                <c:pt idx="63">
                  <c:v>36678</c:v>
                </c:pt>
                <c:pt idx="64">
                  <c:v>36770</c:v>
                </c:pt>
                <c:pt idx="65">
                  <c:v>36861</c:v>
                </c:pt>
                <c:pt idx="66">
                  <c:v>36951</c:v>
                </c:pt>
                <c:pt idx="67">
                  <c:v>37043</c:v>
                </c:pt>
                <c:pt idx="68">
                  <c:v>37135</c:v>
                </c:pt>
                <c:pt idx="69">
                  <c:v>37226</c:v>
                </c:pt>
                <c:pt idx="70">
                  <c:v>37316</c:v>
                </c:pt>
                <c:pt idx="71">
                  <c:v>37408</c:v>
                </c:pt>
                <c:pt idx="72">
                  <c:v>37500</c:v>
                </c:pt>
                <c:pt idx="73">
                  <c:v>37591</c:v>
                </c:pt>
                <c:pt idx="74">
                  <c:v>37681</c:v>
                </c:pt>
                <c:pt idx="75">
                  <c:v>37773</c:v>
                </c:pt>
                <c:pt idx="76">
                  <c:v>37865</c:v>
                </c:pt>
                <c:pt idx="77">
                  <c:v>37956</c:v>
                </c:pt>
                <c:pt idx="78">
                  <c:v>38047</c:v>
                </c:pt>
                <c:pt idx="79">
                  <c:v>38139</c:v>
                </c:pt>
                <c:pt idx="80">
                  <c:v>38231</c:v>
                </c:pt>
                <c:pt idx="81">
                  <c:v>38322</c:v>
                </c:pt>
                <c:pt idx="82">
                  <c:v>38412</c:v>
                </c:pt>
                <c:pt idx="83">
                  <c:v>38504</c:v>
                </c:pt>
                <c:pt idx="84">
                  <c:v>38596</c:v>
                </c:pt>
                <c:pt idx="85">
                  <c:v>38687</c:v>
                </c:pt>
                <c:pt idx="86">
                  <c:v>38777</c:v>
                </c:pt>
                <c:pt idx="87">
                  <c:v>38869</c:v>
                </c:pt>
                <c:pt idx="88">
                  <c:v>38961</c:v>
                </c:pt>
                <c:pt idx="89">
                  <c:v>39052</c:v>
                </c:pt>
                <c:pt idx="90">
                  <c:v>39142</c:v>
                </c:pt>
                <c:pt idx="91">
                  <c:v>39234</c:v>
                </c:pt>
                <c:pt idx="92">
                  <c:v>39326</c:v>
                </c:pt>
                <c:pt idx="93">
                  <c:v>39417</c:v>
                </c:pt>
                <c:pt idx="94">
                  <c:v>39508</c:v>
                </c:pt>
                <c:pt idx="95">
                  <c:v>39600</c:v>
                </c:pt>
                <c:pt idx="96">
                  <c:v>39692</c:v>
                </c:pt>
                <c:pt idx="97">
                  <c:v>39783</c:v>
                </c:pt>
                <c:pt idx="98">
                  <c:v>39873</c:v>
                </c:pt>
                <c:pt idx="99">
                  <c:v>39965</c:v>
                </c:pt>
                <c:pt idx="100">
                  <c:v>40057</c:v>
                </c:pt>
                <c:pt idx="101">
                  <c:v>40148</c:v>
                </c:pt>
                <c:pt idx="102">
                  <c:v>40238</c:v>
                </c:pt>
                <c:pt idx="103">
                  <c:v>40330</c:v>
                </c:pt>
                <c:pt idx="104">
                  <c:v>40422</c:v>
                </c:pt>
                <c:pt idx="105">
                  <c:v>40513</c:v>
                </c:pt>
                <c:pt idx="106">
                  <c:v>40603</c:v>
                </c:pt>
                <c:pt idx="107">
                  <c:v>40695</c:v>
                </c:pt>
                <c:pt idx="108">
                  <c:v>40787</c:v>
                </c:pt>
                <c:pt idx="109">
                  <c:v>40878</c:v>
                </c:pt>
                <c:pt idx="110">
                  <c:v>40969</c:v>
                </c:pt>
                <c:pt idx="111">
                  <c:v>41061</c:v>
                </c:pt>
                <c:pt idx="112">
                  <c:v>41153</c:v>
                </c:pt>
                <c:pt idx="113">
                  <c:v>41244</c:v>
                </c:pt>
                <c:pt idx="114">
                  <c:v>41334</c:v>
                </c:pt>
                <c:pt idx="115">
                  <c:v>41426</c:v>
                </c:pt>
                <c:pt idx="116">
                  <c:v>41518</c:v>
                </c:pt>
                <c:pt idx="117">
                  <c:v>41609</c:v>
                </c:pt>
                <c:pt idx="118">
                  <c:v>41699</c:v>
                </c:pt>
                <c:pt idx="119">
                  <c:v>41791</c:v>
                </c:pt>
                <c:pt idx="120">
                  <c:v>41883</c:v>
                </c:pt>
                <c:pt idx="121">
                  <c:v>41974</c:v>
                </c:pt>
                <c:pt idx="122">
                  <c:v>42064</c:v>
                </c:pt>
                <c:pt idx="123">
                  <c:v>42156</c:v>
                </c:pt>
                <c:pt idx="124">
                  <c:v>42248</c:v>
                </c:pt>
                <c:pt idx="125">
                  <c:v>42339</c:v>
                </c:pt>
                <c:pt idx="126">
                  <c:v>42430</c:v>
                </c:pt>
                <c:pt idx="127">
                  <c:v>42522</c:v>
                </c:pt>
                <c:pt idx="128">
                  <c:v>42614</c:v>
                </c:pt>
                <c:pt idx="129">
                  <c:v>42705</c:v>
                </c:pt>
                <c:pt idx="130">
                  <c:v>42795</c:v>
                </c:pt>
                <c:pt idx="131">
                  <c:v>42887</c:v>
                </c:pt>
                <c:pt idx="132">
                  <c:v>42979</c:v>
                </c:pt>
                <c:pt idx="133">
                  <c:v>43070</c:v>
                </c:pt>
                <c:pt idx="134">
                  <c:v>43160</c:v>
                </c:pt>
                <c:pt idx="135">
                  <c:v>43252</c:v>
                </c:pt>
                <c:pt idx="136">
                  <c:v>43344</c:v>
                </c:pt>
                <c:pt idx="137">
                  <c:v>43435</c:v>
                </c:pt>
                <c:pt idx="138">
                  <c:v>43525</c:v>
                </c:pt>
                <c:pt idx="139">
                  <c:v>43617</c:v>
                </c:pt>
                <c:pt idx="140">
                  <c:v>43709</c:v>
                </c:pt>
                <c:pt idx="141">
                  <c:v>43800</c:v>
                </c:pt>
                <c:pt idx="142">
                  <c:v>43891</c:v>
                </c:pt>
                <c:pt idx="143">
                  <c:v>43983</c:v>
                </c:pt>
                <c:pt idx="144">
                  <c:v>44075</c:v>
                </c:pt>
                <c:pt idx="145">
                  <c:v>44166</c:v>
                </c:pt>
                <c:pt idx="146">
                  <c:v>44256</c:v>
                </c:pt>
                <c:pt idx="147">
                  <c:v>44348</c:v>
                </c:pt>
                <c:pt idx="148">
                  <c:v>44440</c:v>
                </c:pt>
                <c:pt idx="149">
                  <c:v>44531</c:v>
                </c:pt>
                <c:pt idx="150">
                  <c:v>44621</c:v>
                </c:pt>
                <c:pt idx="151">
                  <c:v>44713</c:v>
                </c:pt>
                <c:pt idx="152">
                  <c:v>44805</c:v>
                </c:pt>
                <c:pt idx="153">
                  <c:v>44896</c:v>
                </c:pt>
                <c:pt idx="154">
                  <c:v>44986</c:v>
                </c:pt>
                <c:pt idx="155">
                  <c:v>45078</c:v>
                </c:pt>
                <c:pt idx="156">
                  <c:v>45170</c:v>
                </c:pt>
                <c:pt idx="157">
                  <c:v>45261</c:v>
                </c:pt>
                <c:pt idx="158">
                  <c:v>45352</c:v>
                </c:pt>
                <c:pt idx="159">
                  <c:v>45444</c:v>
                </c:pt>
                <c:pt idx="160">
                  <c:v>45536</c:v>
                </c:pt>
                <c:pt idx="161">
                  <c:v>45627</c:v>
                </c:pt>
                <c:pt idx="162">
                  <c:v>45717</c:v>
                </c:pt>
                <c:pt idx="163">
                  <c:v>45809</c:v>
                </c:pt>
                <c:pt idx="164">
                  <c:v>45901</c:v>
                </c:pt>
                <c:pt idx="165">
                  <c:v>45992</c:v>
                </c:pt>
                <c:pt idx="166">
                  <c:v>46082</c:v>
                </c:pt>
                <c:pt idx="167">
                  <c:v>46174</c:v>
                </c:pt>
                <c:pt idx="168">
                  <c:v>46266</c:v>
                </c:pt>
                <c:pt idx="169">
                  <c:v>46357</c:v>
                </c:pt>
                <c:pt idx="170">
                  <c:v>46447</c:v>
                </c:pt>
                <c:pt idx="171">
                  <c:v>46539</c:v>
                </c:pt>
                <c:pt idx="172">
                  <c:v>46631</c:v>
                </c:pt>
                <c:pt idx="173">
                  <c:v>46722</c:v>
                </c:pt>
                <c:pt idx="174">
                  <c:v>46813</c:v>
                </c:pt>
                <c:pt idx="175">
                  <c:v>46905</c:v>
                </c:pt>
                <c:pt idx="176">
                  <c:v>46997</c:v>
                </c:pt>
                <c:pt idx="177">
                  <c:v>47088</c:v>
                </c:pt>
                <c:pt idx="178">
                  <c:v>47178</c:v>
                </c:pt>
                <c:pt idx="179">
                  <c:v>47270</c:v>
                </c:pt>
                <c:pt idx="180">
                  <c:v>47362</c:v>
                </c:pt>
                <c:pt idx="181">
                  <c:v>47453</c:v>
                </c:pt>
                <c:pt idx="182">
                  <c:v>47543</c:v>
                </c:pt>
                <c:pt idx="183">
                  <c:v>47635</c:v>
                </c:pt>
                <c:pt idx="184">
                  <c:v>47727</c:v>
                </c:pt>
                <c:pt idx="185">
                  <c:v>47818</c:v>
                </c:pt>
                <c:pt idx="186">
                  <c:v>47908</c:v>
                </c:pt>
                <c:pt idx="187">
                  <c:v>48000</c:v>
                </c:pt>
                <c:pt idx="188">
                  <c:v>48092</c:v>
                </c:pt>
                <c:pt idx="189">
                  <c:v>48183</c:v>
                </c:pt>
                <c:pt idx="190">
                  <c:v>48274</c:v>
                </c:pt>
                <c:pt idx="191">
                  <c:v>48366</c:v>
                </c:pt>
              </c:numCache>
            </c:numRef>
          </c:cat>
          <c:val>
            <c:numRef>
              <c:f>'Forecast Data Qtr'!$T$79:$HC$79</c:f>
              <c:numCache>
                <c:formatCode>0.0%</c:formatCode>
                <c:ptCount val="192"/>
                <c:pt idx="0">
                  <c:v>2.1797412855561138E-2</c:v>
                </c:pt>
                <c:pt idx="1">
                  <c:v>2.6341638512489274E-2</c:v>
                </c:pt>
                <c:pt idx="2">
                  <c:v>2.588147761641113E-2</c:v>
                </c:pt>
                <c:pt idx="3">
                  <c:v>3.5385040685585345E-2</c:v>
                </c:pt>
                <c:pt idx="4">
                  <c:v>4.889068539282837E-2</c:v>
                </c:pt>
                <c:pt idx="5">
                  <c:v>5.1163351245586686E-2</c:v>
                </c:pt>
                <c:pt idx="6">
                  <c:v>3.6990378592721918E-2</c:v>
                </c:pt>
                <c:pt idx="7">
                  <c:v>4.481385603008925E-2</c:v>
                </c:pt>
                <c:pt idx="8">
                  <c:v>2.1234240212342215E-2</c:v>
                </c:pt>
                <c:pt idx="9">
                  <c:v>-5.4448378575845391E-3</c:v>
                </c:pt>
                <c:pt idx="10">
                  <c:v>1.1728320772411482E-2</c:v>
                </c:pt>
                <c:pt idx="11">
                  <c:v>5.7597824082200599E-3</c:v>
                </c:pt>
                <c:pt idx="12">
                  <c:v>3.7796221494298177E-2</c:v>
                </c:pt>
                <c:pt idx="13">
                  <c:v>5.6281263915479718E-2</c:v>
                </c:pt>
                <c:pt idx="14">
                  <c:v>4.9437551621359654E-2</c:v>
                </c:pt>
                <c:pt idx="15">
                  <c:v>4.9462118517307418E-2</c:v>
                </c:pt>
                <c:pt idx="16">
                  <c:v>2.4261149456942688E-2</c:v>
                </c:pt>
                <c:pt idx="17">
                  <c:v>4.3299622085931633E-2</c:v>
                </c:pt>
                <c:pt idx="18">
                  <c:v>6.1159718464687263E-2</c:v>
                </c:pt>
                <c:pt idx="19">
                  <c:v>4.1600350318739654E-2</c:v>
                </c:pt>
                <c:pt idx="20">
                  <c:v>4.9253022779024214E-2</c:v>
                </c:pt>
                <c:pt idx="21">
                  <c:v>3.7027009287519341E-2</c:v>
                </c:pt>
                <c:pt idx="22">
                  <c:v>2.2419464061139482E-2</c:v>
                </c:pt>
                <c:pt idx="23">
                  <c:v>2.4377673034788661E-2</c:v>
                </c:pt>
                <c:pt idx="24">
                  <c:v>1.8264300829430979E-2</c:v>
                </c:pt>
                <c:pt idx="25">
                  <c:v>-6.1136735840249257E-3</c:v>
                </c:pt>
                <c:pt idx="26">
                  <c:v>-4.7388133254484543E-3</c:v>
                </c:pt>
                <c:pt idx="27">
                  <c:v>-3.206285503446149E-3</c:v>
                </c:pt>
                <c:pt idx="28">
                  <c:v>2.9056942090589954E-2</c:v>
                </c:pt>
                <c:pt idx="29">
                  <c:v>4.8141580944761841E-2</c:v>
                </c:pt>
                <c:pt idx="30">
                  <c:v>5.1828495373304584E-2</c:v>
                </c:pt>
                <c:pt idx="31">
                  <c:v>6.6414353354764311E-2</c:v>
                </c:pt>
                <c:pt idx="32">
                  <c:v>2.1962128463644426E-2</c:v>
                </c:pt>
                <c:pt idx="33">
                  <c:v>2.2005437754420099E-2</c:v>
                </c:pt>
                <c:pt idx="34">
                  <c:v>1.4476597924167445E-2</c:v>
                </c:pt>
                <c:pt idx="35">
                  <c:v>9.4367640289265697E-3</c:v>
                </c:pt>
                <c:pt idx="36">
                  <c:v>1.5685292094164138E-2</c:v>
                </c:pt>
                <c:pt idx="37">
                  <c:v>3.763482809997809E-2</c:v>
                </c:pt>
                <c:pt idx="38">
                  <c:v>5.4837847469707768E-2</c:v>
                </c:pt>
                <c:pt idx="39">
                  <c:v>5.313444692071756E-2</c:v>
                </c:pt>
                <c:pt idx="40">
                  <c:v>7.5982079420415793E-2</c:v>
                </c:pt>
                <c:pt idx="41">
                  <c:v>5.4911411260867737E-2</c:v>
                </c:pt>
                <c:pt idx="42">
                  <c:v>4.9368638878330984E-2</c:v>
                </c:pt>
                <c:pt idx="43">
                  <c:v>7.0540085625886206E-2</c:v>
                </c:pt>
                <c:pt idx="44">
                  <c:v>5.9534765963124903E-2</c:v>
                </c:pt>
                <c:pt idx="45">
                  <c:v>6.5752894573374965E-2</c:v>
                </c:pt>
                <c:pt idx="46">
                  <c:v>6.0876797596050691E-2</c:v>
                </c:pt>
                <c:pt idx="47">
                  <c:v>4.1211891884839202E-2</c:v>
                </c:pt>
                <c:pt idx="48">
                  <c:v>3.292388370080479E-2</c:v>
                </c:pt>
                <c:pt idx="49">
                  <c:v>1.6338932523075389E-2</c:v>
                </c:pt>
                <c:pt idx="50">
                  <c:v>3.2772944538580484E-2</c:v>
                </c:pt>
                <c:pt idx="51">
                  <c:v>2.7509743229864991E-2</c:v>
                </c:pt>
                <c:pt idx="52">
                  <c:v>4.7899212204576713E-2</c:v>
                </c:pt>
                <c:pt idx="53">
                  <c:v>6.336805555555558E-2</c:v>
                </c:pt>
                <c:pt idx="54">
                  <c:v>4.0989301948300305E-2</c:v>
                </c:pt>
                <c:pt idx="55">
                  <c:v>4.1182765864679505E-2</c:v>
                </c:pt>
                <c:pt idx="56">
                  <c:v>3.0390630127505425E-2</c:v>
                </c:pt>
                <c:pt idx="57">
                  <c:v>2.5388639210196962E-2</c:v>
                </c:pt>
                <c:pt idx="58">
                  <c:v>5.7144369365395908E-2</c:v>
                </c:pt>
                <c:pt idx="59">
                  <c:v>6.928582305466735E-2</c:v>
                </c:pt>
                <c:pt idx="60">
                  <c:v>7.5989681200038239E-2</c:v>
                </c:pt>
                <c:pt idx="61">
                  <c:v>9.0029890210955754E-2</c:v>
                </c:pt>
                <c:pt idx="62">
                  <c:v>4.6776257231864626E-2</c:v>
                </c:pt>
                <c:pt idx="63">
                  <c:v>6.671066757224553E-2</c:v>
                </c:pt>
                <c:pt idx="64">
                  <c:v>8.8016467770797302E-3</c:v>
                </c:pt>
                <c:pt idx="65">
                  <c:v>9.2811095144555988E-3</c:v>
                </c:pt>
                <c:pt idx="66">
                  <c:v>3.5130747176068233E-2</c:v>
                </c:pt>
                <c:pt idx="67">
                  <c:v>1.4012729041881666E-2</c:v>
                </c:pt>
                <c:pt idx="68">
                  <c:v>6.2170250676169436E-2</c:v>
                </c:pt>
                <c:pt idx="69">
                  <c:v>5.6068027744033966E-2</c:v>
                </c:pt>
                <c:pt idx="70">
                  <c:v>5.8545839130502042E-2</c:v>
                </c:pt>
                <c:pt idx="71">
                  <c:v>6.4788675337565271E-2</c:v>
                </c:pt>
                <c:pt idx="72">
                  <c:v>6.3940494307081375E-2</c:v>
                </c:pt>
                <c:pt idx="73">
                  <c:v>6.2538497502764301E-2</c:v>
                </c:pt>
                <c:pt idx="74">
                  <c:v>4.6509766832781407E-2</c:v>
                </c:pt>
                <c:pt idx="75">
                  <c:v>4.7140649149922664E-2</c:v>
                </c:pt>
                <c:pt idx="76">
                  <c:v>7.1467347690215899E-2</c:v>
                </c:pt>
                <c:pt idx="77">
                  <c:v>8.8383062338194485E-2</c:v>
                </c:pt>
                <c:pt idx="78">
                  <c:v>9.5151363476261963E-2</c:v>
                </c:pt>
                <c:pt idx="79">
                  <c:v>8.9217144479136756E-2</c:v>
                </c:pt>
                <c:pt idx="80">
                  <c:v>7.0427685563546838E-2</c:v>
                </c:pt>
                <c:pt idx="81">
                  <c:v>3.6261660652290306E-2</c:v>
                </c:pt>
                <c:pt idx="82">
                  <c:v>2.9413507234355762E-2</c:v>
                </c:pt>
                <c:pt idx="83">
                  <c:v>1.5719336869141731E-2</c:v>
                </c:pt>
                <c:pt idx="84">
                  <c:v>1.0024160057292564E-2</c:v>
                </c:pt>
                <c:pt idx="85">
                  <c:v>1.4713805339327646E-2</c:v>
                </c:pt>
                <c:pt idx="86">
                  <c:v>2.521032585348193E-2</c:v>
                </c:pt>
                <c:pt idx="87">
                  <c:v>3.9975041255818855E-2</c:v>
                </c:pt>
                <c:pt idx="88">
                  <c:v>3.7854754613414698E-2</c:v>
                </c:pt>
                <c:pt idx="89">
                  <c:v>4.814360489125713E-2</c:v>
                </c:pt>
                <c:pt idx="90">
                  <c:v>5.7954335848845018E-2</c:v>
                </c:pt>
                <c:pt idx="91">
                  <c:v>4.3431751796005447E-2</c:v>
                </c:pt>
                <c:pt idx="92">
                  <c:v>5.999890061565516E-2</c:v>
                </c:pt>
                <c:pt idx="93">
                  <c:v>6.2730355156947137E-2</c:v>
                </c:pt>
                <c:pt idx="94">
                  <c:v>3.4835638400691371E-2</c:v>
                </c:pt>
                <c:pt idx="95">
                  <c:v>2.752862757856267E-2</c:v>
                </c:pt>
                <c:pt idx="96">
                  <c:v>5.0116865269715927E-3</c:v>
                </c:pt>
                <c:pt idx="97">
                  <c:v>3.4078581629708449E-3</c:v>
                </c:pt>
                <c:pt idx="98">
                  <c:v>1.6130095593890781E-2</c:v>
                </c:pt>
                <c:pt idx="99">
                  <c:v>4.0240041234077095E-2</c:v>
                </c:pt>
                <c:pt idx="100">
                  <c:v>3.2968207517267256E-2</c:v>
                </c:pt>
                <c:pt idx="101">
                  <c:v>3.299819447275687E-2</c:v>
                </c:pt>
                <c:pt idx="102">
                  <c:v>2.2282777165019363E-2</c:v>
                </c:pt>
                <c:pt idx="103">
                  <c:v>1.3356927977349109E-2</c:v>
                </c:pt>
                <c:pt idx="104">
                  <c:v>2.785558057138382E-2</c:v>
                </c:pt>
                <c:pt idx="105">
                  <c:v>1.2989072405445112E-2</c:v>
                </c:pt>
                <c:pt idx="106">
                  <c:v>1.2093816991989081E-2</c:v>
                </c:pt>
                <c:pt idx="107">
                  <c:v>5.7871502214275061E-3</c:v>
                </c:pt>
                <c:pt idx="108">
                  <c:v>9.5322729576428067E-3</c:v>
                </c:pt>
                <c:pt idx="109">
                  <c:v>2.1327962207310147E-2</c:v>
                </c:pt>
                <c:pt idx="110">
                  <c:v>3.0092737749350285E-2</c:v>
                </c:pt>
                <c:pt idx="111">
                  <c:v>4.1471485966088073E-2</c:v>
                </c:pt>
                <c:pt idx="112">
                  <c:v>2.9303349150677338E-2</c:v>
                </c:pt>
                <c:pt idx="113">
                  <c:v>1.9227232164145125E-2</c:v>
                </c:pt>
                <c:pt idx="114">
                  <c:v>2.6822553807443361E-2</c:v>
                </c:pt>
                <c:pt idx="115">
                  <c:v>1.3113322041583997E-2</c:v>
                </c:pt>
                <c:pt idx="116">
                  <c:v>2.4286601946937436E-2</c:v>
                </c:pt>
                <c:pt idx="117">
                  <c:v>3.7201033287773688E-2</c:v>
                </c:pt>
                <c:pt idx="118">
                  <c:v>3.7132552739489233E-2</c:v>
                </c:pt>
                <c:pt idx="119">
                  <c:v>3.6859443751501964E-2</c:v>
                </c:pt>
                <c:pt idx="120">
                  <c:v>3.8018733774281666E-2</c:v>
                </c:pt>
                <c:pt idx="121">
                  <c:v>4.1472946892590068E-2</c:v>
                </c:pt>
                <c:pt idx="122">
                  <c:v>3.5876134129804615E-2</c:v>
                </c:pt>
                <c:pt idx="123">
                  <c:v>4.122746042779557E-2</c:v>
                </c:pt>
                <c:pt idx="124">
                  <c:v>4.4547222632427275E-2</c:v>
                </c:pt>
                <c:pt idx="125">
                  <c:v>3.60997763292632E-2</c:v>
                </c:pt>
                <c:pt idx="126">
                  <c:v>3.6338162888658765E-2</c:v>
                </c:pt>
                <c:pt idx="127">
                  <c:v>2.9870810800924463E-2</c:v>
                </c:pt>
                <c:pt idx="128">
                  <c:v>1.6637238416950639E-2</c:v>
                </c:pt>
                <c:pt idx="129">
                  <c:v>2.0757691572711678E-2</c:v>
                </c:pt>
                <c:pt idx="130">
                  <c:v>1.2954126594860282E-2</c:v>
                </c:pt>
                <c:pt idx="131">
                  <c:v>2.4597078541934492E-2</c:v>
                </c:pt>
                <c:pt idx="132">
                  <c:v>2.8463391108296987E-2</c:v>
                </c:pt>
                <c:pt idx="133">
                  <c:v>2.3383567734537758E-2</c:v>
                </c:pt>
                <c:pt idx="134">
                  <c:v>2.7002085170756196E-2</c:v>
                </c:pt>
                <c:pt idx="135">
                  <c:v>2.304458985136737E-2</c:v>
                </c:pt>
                <c:pt idx="136">
                  <c:v>2.1734877646016448E-2</c:v>
                </c:pt>
                <c:pt idx="137">
                  <c:v>1.3848475667270765E-2</c:v>
                </c:pt>
                <c:pt idx="138">
                  <c:v>1.1183971063287723E-2</c:v>
                </c:pt>
                <c:pt idx="139">
                  <c:v>2.6148441823952151E-3</c:v>
                </c:pt>
                <c:pt idx="140">
                  <c:v>1.6133891590384142E-3</c:v>
                </c:pt>
                <c:pt idx="141">
                  <c:v>5.8753379587992427E-3</c:v>
                </c:pt>
                <c:pt idx="142">
                  <c:v>1.6262791868322912E-2</c:v>
                </c:pt>
                <c:pt idx="143">
                  <c:v>-2.1973874690895512E-2</c:v>
                </c:pt>
                <c:pt idx="144">
                  <c:v>3.9755317294771775E-2</c:v>
                </c:pt>
                <c:pt idx="145">
                  <c:v>5.9688273395611446E-2</c:v>
                </c:pt>
                <c:pt idx="146">
                  <c:v>4.198350766506187E-2</c:v>
                </c:pt>
                <c:pt idx="147">
                  <c:v>8.8058953624991387E-2</c:v>
                </c:pt>
                <c:pt idx="148">
                  <c:v>-1.9158186163712343E-2</c:v>
                </c:pt>
                <c:pt idx="149">
                  <c:v>3.4296702046904937E-2</c:v>
                </c:pt>
                <c:pt idx="150">
                  <c:v>5.0075421190167502E-2</c:v>
                </c:pt>
                <c:pt idx="151">
                  <c:v>5.4804345812325295E-2</c:v>
                </c:pt>
                <c:pt idx="152">
                  <c:v>9.8455821953679967E-2</c:v>
                </c:pt>
                <c:pt idx="153">
                  <c:v>1.5307505434087654E-2</c:v>
                </c:pt>
                <c:pt idx="154">
                  <c:v>3.5001820903977077E-3</c:v>
                </c:pt>
                <c:pt idx="155">
                  <c:v>-1.4532972685438406E-2</c:v>
                </c:pt>
                <c:pt idx="156">
                  <c:v>-1.7237139272270996E-2</c:v>
                </c:pt>
                <c:pt idx="157">
                  <c:v>-9.8353801670377772E-3</c:v>
                </c:pt>
                <c:pt idx="158">
                  <c:v>-1.3236153954716778E-2</c:v>
                </c:pt>
                <c:pt idx="159">
                  <c:v>-5.7033736473584007E-3</c:v>
                </c:pt>
                <c:pt idx="160">
                  <c:v>2.2452798875343127E-3</c:v>
                </c:pt>
                <c:pt idx="161">
                  <c:v>2.9847123615858173E-3</c:v>
                </c:pt>
                <c:pt idx="162">
                  <c:v>1.0796054442511416E-2</c:v>
                </c:pt>
                <c:pt idx="163">
                  <c:v>1.7618493297381743E-2</c:v>
                </c:pt>
                <c:pt idx="164">
                  <c:v>1.6345786394236672E-2</c:v>
                </c:pt>
                <c:pt idx="165">
                  <c:v>1.4435117528991626E-2</c:v>
                </c:pt>
                <c:pt idx="166">
                  <c:v>1.4953421188097726E-2</c:v>
                </c:pt>
                <c:pt idx="167">
                  <c:v>1.4112925807609589E-2</c:v>
                </c:pt>
                <c:pt idx="168">
                  <c:v>1.4277396859848857E-2</c:v>
                </c:pt>
                <c:pt idx="169">
                  <c:v>1.5517306395427255E-2</c:v>
                </c:pt>
                <c:pt idx="170">
                  <c:v>1.6780940261277744E-2</c:v>
                </c:pt>
                <c:pt idx="171">
                  <c:v>1.9103352294902232E-2</c:v>
                </c:pt>
                <c:pt idx="172">
                  <c:v>2.0643321292403094E-2</c:v>
                </c:pt>
                <c:pt idx="173">
                  <c:v>2.1728969806324328E-2</c:v>
                </c:pt>
                <c:pt idx="174">
                  <c:v>2.2504789475385811E-2</c:v>
                </c:pt>
                <c:pt idx="175">
                  <c:v>2.2635521242807544E-2</c:v>
                </c:pt>
                <c:pt idx="176">
                  <c:v>2.3352521223900524E-2</c:v>
                </c:pt>
                <c:pt idx="177">
                  <c:v>2.3973718147324297E-2</c:v>
                </c:pt>
                <c:pt idx="178">
                  <c:v>2.4115725448822234E-2</c:v>
                </c:pt>
                <c:pt idx="179">
                  <c:v>2.4530073910671524E-2</c:v>
                </c:pt>
                <c:pt idx="180">
                  <c:v>2.459246784198621E-2</c:v>
                </c:pt>
                <c:pt idx="181">
                  <c:v>2.4882594998717478E-2</c:v>
                </c:pt>
                <c:pt idx="182">
                  <c:v>2.4856230903941512E-2</c:v>
                </c:pt>
                <c:pt idx="183">
                  <c:v>2.507387536694794E-2</c:v>
                </c:pt>
                <c:pt idx="184">
                  <c:v>2.5170880656493866E-2</c:v>
                </c:pt>
                <c:pt idx="185">
                  <c:v>2.5385116632561822E-2</c:v>
                </c:pt>
                <c:pt idx="186">
                  <c:v>2.5410658977320422E-2</c:v>
                </c:pt>
                <c:pt idx="187">
                  <c:v>2.5567129809022759E-2</c:v>
                </c:pt>
                <c:pt idx="188">
                  <c:v>2.5762688978878678E-2</c:v>
                </c:pt>
                <c:pt idx="189">
                  <c:v>2.5888427266951064E-2</c:v>
                </c:pt>
                <c:pt idx="190">
                  <c:v>2.5634236509441299E-2</c:v>
                </c:pt>
                <c:pt idx="191">
                  <c:v>2.5842158646589342E-2</c:v>
                </c:pt>
              </c:numCache>
            </c:numRef>
          </c:val>
          <c:extLst>
            <c:ext xmlns:c16="http://schemas.microsoft.com/office/drawing/2014/chart" uri="{C3380CC4-5D6E-409C-BE32-E72D297353CC}">
              <c16:uniqueId val="{00000001-4EE7-4ECA-BE1C-A3BED74112C8}"/>
            </c:ext>
          </c:extLst>
        </c:ser>
        <c:dLbls>
          <c:showLegendKey val="0"/>
          <c:showVal val="0"/>
          <c:showCatName val="0"/>
          <c:showSerName val="0"/>
          <c:showPercent val="0"/>
          <c:showBubbleSize val="0"/>
        </c:dLbls>
        <c:axId val="1007518672"/>
        <c:axId val="1007520632"/>
      </c:areaChart>
      <c:dateAx>
        <c:axId val="1007518672"/>
        <c:scaling>
          <c:orientation val="minMax"/>
          <c:max val="47270"/>
          <c:min val="41791"/>
        </c:scaling>
        <c:delete val="0"/>
        <c:axPos val="b"/>
        <c:numFmt formatCode="mmm\-yy;@" sourceLinked="0"/>
        <c:majorTickMark val="out"/>
        <c:minorTickMark val="out"/>
        <c:tickLblPos val="low"/>
        <c:spPr>
          <a:ln w="3175">
            <a:solidFill>
              <a:srgbClr val="000000"/>
            </a:solidFill>
            <a:prstDash val="solid"/>
          </a:ln>
        </c:spPr>
        <c:txPr>
          <a:bodyPr rot="0" vert="horz"/>
          <a:lstStyle/>
          <a:p>
            <a:pPr>
              <a:defRPr/>
            </a:pPr>
            <a:endParaRPr lang="en-US"/>
          </a:p>
        </c:txPr>
        <c:crossAx val="1007520632"/>
        <c:crosses val="autoZero"/>
        <c:auto val="0"/>
        <c:lblOffset val="100"/>
        <c:baseTimeUnit val="months"/>
        <c:majorUnit val="2"/>
        <c:majorTimeUnit val="years"/>
        <c:minorUnit val="2"/>
        <c:minorTimeUnit val="years"/>
      </c:dateAx>
      <c:valAx>
        <c:axId val="1007520632"/>
        <c:scaling>
          <c:orientation val="minMax"/>
          <c:min val="-4.0000000000000008E-2"/>
        </c:scaling>
        <c:delete val="0"/>
        <c:axPos val="l"/>
        <c:numFmt formatCode="0%" sourceLinked="0"/>
        <c:majorTickMark val="out"/>
        <c:minorTickMark val="none"/>
        <c:tickLblPos val="nextTo"/>
        <c:spPr>
          <a:ln w="3175">
            <a:solidFill>
              <a:srgbClr val="000000"/>
            </a:solidFill>
            <a:prstDash val="solid"/>
          </a:ln>
        </c:spPr>
        <c:txPr>
          <a:bodyPr rot="0" vert="horz"/>
          <a:lstStyle/>
          <a:p>
            <a:pPr>
              <a:defRPr/>
            </a:pPr>
            <a:endParaRPr lang="en-US"/>
          </a:p>
        </c:txPr>
        <c:crossAx val="1007518672"/>
        <c:crossesAt val="41061"/>
        <c:crossBetween val="midCat"/>
      </c:valAx>
      <c:spPr>
        <a:noFill/>
        <a:ln w="25400">
          <a:noFill/>
        </a:ln>
      </c:spPr>
    </c:plotArea>
    <c:legend>
      <c:legendPos val="r"/>
      <c:layout>
        <c:manualLayout>
          <c:xMode val="edge"/>
          <c:yMode val="edge"/>
          <c:x val="6.1734366530441273E-2"/>
          <c:y val="0.87607036844787223"/>
          <c:w val="0.86366080715937743"/>
          <c:h val="0.11884965012953108"/>
        </c:manualLayout>
      </c:layout>
      <c:overlay val="0"/>
      <c:spPr>
        <a:noFill/>
        <a:ln w="25400">
          <a:noFill/>
        </a:ln>
      </c:spPr>
    </c:legend>
    <c:plotVisOnly val="1"/>
    <c:dispBlanksAs val="gap"/>
    <c:showDLblsOverMax val="0"/>
  </c:chart>
  <c:spPr>
    <a:noFill/>
    <a:ln w="3175">
      <a:noFill/>
      <a:prstDash val="solid"/>
    </a:ln>
  </c:spPr>
  <c:txPr>
    <a:bodyPr/>
    <a:lstStyle/>
    <a:p>
      <a:pPr>
        <a:defRPr sz="1050" b="0" i="0" u="none" strike="noStrike" baseline="0">
          <a:solidFill>
            <a:srgbClr val="000000"/>
          </a:solidFill>
          <a:latin typeface="+mj-lt"/>
          <a:ea typeface="Open Sans Light" panose="020B0306030504020204" pitchFamily="34" charset="0"/>
          <a:cs typeface="Open Sans Light" panose="020B0306030504020204" pitchFamily="34" charset="0"/>
        </a:defRPr>
      </a:pPr>
      <a:endParaRPr lang="en-US"/>
    </a:p>
  </c:txPr>
  <c:externalData r:id="rId1">
    <c:autoUpdate val="0"/>
  </c:externalData>
  <c:userShapes r:id="rId2"/>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 1'!$A$3</c:f>
              <c:strCache>
                <c:ptCount val="1"/>
                <c:pt idx="0">
                  <c:v>Australia</c:v>
                </c:pt>
              </c:strCache>
            </c:strRef>
          </c:tx>
          <c:spPr>
            <a:ln w="28575" cap="rnd">
              <a:solidFill>
                <a:schemeClr val="accent3"/>
              </a:solidFill>
              <a:round/>
            </a:ln>
            <a:effectLst/>
          </c:spPr>
          <c:marker>
            <c:symbol val="none"/>
          </c:marker>
          <c:cat>
            <c:numRef>
              <c:f>'Sheet 1'!$B$2:$AY$2</c:f>
              <c:numCache>
                <c:formatCode>m/d/yyyy</c:formatCode>
                <c:ptCount val="50"/>
                <c:pt idx="0">
                  <c:v>44075</c:v>
                </c:pt>
                <c:pt idx="1">
                  <c:v>44105</c:v>
                </c:pt>
                <c:pt idx="2">
                  <c:v>44136</c:v>
                </c:pt>
                <c:pt idx="3">
                  <c:v>44166</c:v>
                </c:pt>
                <c:pt idx="4">
                  <c:v>44197</c:v>
                </c:pt>
                <c:pt idx="5">
                  <c:v>44228</c:v>
                </c:pt>
                <c:pt idx="6">
                  <c:v>44256</c:v>
                </c:pt>
                <c:pt idx="7">
                  <c:v>44287</c:v>
                </c:pt>
                <c:pt idx="8">
                  <c:v>44317</c:v>
                </c:pt>
                <c:pt idx="9">
                  <c:v>44348</c:v>
                </c:pt>
                <c:pt idx="10">
                  <c:v>44378</c:v>
                </c:pt>
                <c:pt idx="11">
                  <c:v>44409</c:v>
                </c:pt>
                <c:pt idx="12">
                  <c:v>44440</c:v>
                </c:pt>
                <c:pt idx="13">
                  <c:v>44470</c:v>
                </c:pt>
                <c:pt idx="14">
                  <c:v>44501</c:v>
                </c:pt>
                <c:pt idx="15">
                  <c:v>44531</c:v>
                </c:pt>
                <c:pt idx="16">
                  <c:v>44562</c:v>
                </c:pt>
                <c:pt idx="17">
                  <c:v>44593</c:v>
                </c:pt>
                <c:pt idx="18">
                  <c:v>44621</c:v>
                </c:pt>
                <c:pt idx="19">
                  <c:v>44652</c:v>
                </c:pt>
                <c:pt idx="20">
                  <c:v>44682</c:v>
                </c:pt>
                <c:pt idx="21">
                  <c:v>44713</c:v>
                </c:pt>
                <c:pt idx="22">
                  <c:v>44743</c:v>
                </c:pt>
                <c:pt idx="23">
                  <c:v>44774</c:v>
                </c:pt>
                <c:pt idx="24">
                  <c:v>44805</c:v>
                </c:pt>
                <c:pt idx="25">
                  <c:v>44835</c:v>
                </c:pt>
                <c:pt idx="26">
                  <c:v>44866</c:v>
                </c:pt>
                <c:pt idx="27">
                  <c:v>44896</c:v>
                </c:pt>
                <c:pt idx="28">
                  <c:v>44927</c:v>
                </c:pt>
                <c:pt idx="29">
                  <c:v>44958</c:v>
                </c:pt>
                <c:pt idx="30">
                  <c:v>44986</c:v>
                </c:pt>
                <c:pt idx="31">
                  <c:v>45017</c:v>
                </c:pt>
                <c:pt idx="32">
                  <c:v>45047</c:v>
                </c:pt>
                <c:pt idx="33">
                  <c:v>45078</c:v>
                </c:pt>
                <c:pt idx="34">
                  <c:v>45108</c:v>
                </c:pt>
                <c:pt idx="35">
                  <c:v>45139</c:v>
                </c:pt>
                <c:pt idx="36">
                  <c:v>45170</c:v>
                </c:pt>
                <c:pt idx="37">
                  <c:v>45200</c:v>
                </c:pt>
                <c:pt idx="38">
                  <c:v>45231</c:v>
                </c:pt>
                <c:pt idx="39">
                  <c:v>45261</c:v>
                </c:pt>
                <c:pt idx="40">
                  <c:v>45292</c:v>
                </c:pt>
                <c:pt idx="41">
                  <c:v>45323</c:v>
                </c:pt>
                <c:pt idx="42">
                  <c:v>45352</c:v>
                </c:pt>
                <c:pt idx="43">
                  <c:v>45383</c:v>
                </c:pt>
                <c:pt idx="44">
                  <c:v>45413</c:v>
                </c:pt>
                <c:pt idx="45">
                  <c:v>45444</c:v>
                </c:pt>
                <c:pt idx="46">
                  <c:v>45474</c:v>
                </c:pt>
                <c:pt idx="47">
                  <c:v>45505</c:v>
                </c:pt>
                <c:pt idx="48">
                  <c:v>45536</c:v>
                </c:pt>
                <c:pt idx="49">
                  <c:v>45566</c:v>
                </c:pt>
              </c:numCache>
            </c:numRef>
          </c:cat>
          <c:val>
            <c:numRef>
              <c:f>'Sheet 1'!$B$3:$AY$3</c:f>
              <c:numCache>
                <c:formatCode>#,##0.0;\-#,##0.0</c:formatCode>
                <c:ptCount val="50"/>
                <c:pt idx="0">
                  <c:v>104.7</c:v>
                </c:pt>
                <c:pt idx="1">
                  <c:v>102.7</c:v>
                </c:pt>
                <c:pt idx="2">
                  <c:v>104.8</c:v>
                </c:pt>
                <c:pt idx="3">
                  <c:v>102.4</c:v>
                </c:pt>
                <c:pt idx="4">
                  <c:v>104.9</c:v>
                </c:pt>
                <c:pt idx="5">
                  <c:v>100.7</c:v>
                </c:pt>
                <c:pt idx="6">
                  <c:v>103.3</c:v>
                </c:pt>
                <c:pt idx="7">
                  <c:v>100.4</c:v>
                </c:pt>
                <c:pt idx="8">
                  <c:v>101.2</c:v>
                </c:pt>
                <c:pt idx="9">
                  <c:v>102.1</c:v>
                </c:pt>
                <c:pt idx="10">
                  <c:v>103.1</c:v>
                </c:pt>
                <c:pt idx="11">
                  <c:v>102.4</c:v>
                </c:pt>
                <c:pt idx="12">
                  <c:v>94.5</c:v>
                </c:pt>
                <c:pt idx="13">
                  <c:v>100.1</c:v>
                </c:pt>
                <c:pt idx="14">
                  <c:v>100.9</c:v>
                </c:pt>
                <c:pt idx="15">
                  <c:v>102.6</c:v>
                </c:pt>
                <c:pt idx="16">
                  <c:v>101.5</c:v>
                </c:pt>
                <c:pt idx="17">
                  <c:v>100</c:v>
                </c:pt>
                <c:pt idx="18">
                  <c:v>96.6</c:v>
                </c:pt>
                <c:pt idx="19">
                  <c:v>100.2</c:v>
                </c:pt>
                <c:pt idx="20">
                  <c:v>97.9</c:v>
                </c:pt>
                <c:pt idx="21">
                  <c:v>91.6</c:v>
                </c:pt>
                <c:pt idx="22">
                  <c:v>90.2</c:v>
                </c:pt>
                <c:pt idx="23">
                  <c:v>93.2</c:v>
                </c:pt>
                <c:pt idx="24">
                  <c:v>101.2</c:v>
                </c:pt>
                <c:pt idx="25">
                  <c:v>97.4</c:v>
                </c:pt>
                <c:pt idx="26">
                  <c:v>97.1</c:v>
                </c:pt>
                <c:pt idx="27">
                  <c:v>98</c:v>
                </c:pt>
                <c:pt idx="28">
                  <c:v>98</c:v>
                </c:pt>
                <c:pt idx="29">
                  <c:v>93.9</c:v>
                </c:pt>
                <c:pt idx="30">
                  <c:v>94.2</c:v>
                </c:pt>
                <c:pt idx="31">
                  <c:v>93.6</c:v>
                </c:pt>
                <c:pt idx="32">
                  <c:v>95.8</c:v>
                </c:pt>
                <c:pt idx="33">
                  <c:v>96.2</c:v>
                </c:pt>
                <c:pt idx="34">
                  <c:v>92.9</c:v>
                </c:pt>
                <c:pt idx="35">
                  <c:v>94.2</c:v>
                </c:pt>
                <c:pt idx="36">
                  <c:v>93.3</c:v>
                </c:pt>
                <c:pt idx="37">
                  <c:v>92</c:v>
                </c:pt>
                <c:pt idx="38">
                  <c:v>92.028426409780195</c:v>
                </c:pt>
                <c:pt idx="39">
                  <c:v>95.5</c:v>
                </c:pt>
                <c:pt idx="40">
                  <c:v>96</c:v>
                </c:pt>
                <c:pt idx="41">
                  <c:v>93.37081765207175</c:v>
                </c:pt>
                <c:pt idx="42">
                  <c:v>95.308276697785047</c:v>
                </c:pt>
                <c:pt idx="43">
                  <c:v>91.8</c:v>
                </c:pt>
                <c:pt idx="44">
                  <c:v>88.8</c:v>
                </c:pt>
                <c:pt idx="45">
                  <c:v>90.165382899138834</c:v>
                </c:pt>
                <c:pt idx="46">
                  <c:v>91.17562752878132</c:v>
                </c:pt>
                <c:pt idx="47">
                  <c:v>94.983612753320855</c:v>
                </c:pt>
                <c:pt idx="48">
                  <c:v>94.8</c:v>
                </c:pt>
                <c:pt idx="49">
                  <c:v>93.7</c:v>
                </c:pt>
              </c:numCache>
            </c:numRef>
          </c:val>
          <c:smooth val="0"/>
          <c:extLst>
            <c:ext xmlns:c16="http://schemas.microsoft.com/office/drawing/2014/chart" uri="{C3380CC4-5D6E-409C-BE32-E72D297353CC}">
              <c16:uniqueId val="{00000000-9758-4A85-9199-3EC373DEAB1F}"/>
            </c:ext>
          </c:extLst>
        </c:ser>
        <c:ser>
          <c:idx val="1"/>
          <c:order val="1"/>
          <c:tx>
            <c:strRef>
              <c:f>'Sheet 1'!$A$4</c:f>
              <c:strCache>
                <c:ptCount val="1"/>
                <c:pt idx="0">
                  <c:v>Europe</c:v>
                </c:pt>
              </c:strCache>
            </c:strRef>
          </c:tx>
          <c:spPr>
            <a:ln w="28575" cap="rnd">
              <a:solidFill>
                <a:srgbClr val="0076A8"/>
              </a:solidFill>
              <a:round/>
            </a:ln>
            <a:effectLst/>
          </c:spPr>
          <c:marker>
            <c:symbol val="none"/>
          </c:marker>
          <c:cat>
            <c:numRef>
              <c:f>'Sheet 1'!$B$2:$AY$2</c:f>
              <c:numCache>
                <c:formatCode>m/d/yyyy</c:formatCode>
                <c:ptCount val="50"/>
                <c:pt idx="0">
                  <c:v>44075</c:v>
                </c:pt>
                <c:pt idx="1">
                  <c:v>44105</c:v>
                </c:pt>
                <c:pt idx="2">
                  <c:v>44136</c:v>
                </c:pt>
                <c:pt idx="3">
                  <c:v>44166</c:v>
                </c:pt>
                <c:pt idx="4">
                  <c:v>44197</c:v>
                </c:pt>
                <c:pt idx="5">
                  <c:v>44228</c:v>
                </c:pt>
                <c:pt idx="6">
                  <c:v>44256</c:v>
                </c:pt>
                <c:pt idx="7">
                  <c:v>44287</c:v>
                </c:pt>
                <c:pt idx="8">
                  <c:v>44317</c:v>
                </c:pt>
                <c:pt idx="9">
                  <c:v>44348</c:v>
                </c:pt>
                <c:pt idx="10">
                  <c:v>44378</c:v>
                </c:pt>
                <c:pt idx="11">
                  <c:v>44409</c:v>
                </c:pt>
                <c:pt idx="12">
                  <c:v>44440</c:v>
                </c:pt>
                <c:pt idx="13">
                  <c:v>44470</c:v>
                </c:pt>
                <c:pt idx="14">
                  <c:v>44501</c:v>
                </c:pt>
                <c:pt idx="15">
                  <c:v>44531</c:v>
                </c:pt>
                <c:pt idx="16">
                  <c:v>44562</c:v>
                </c:pt>
                <c:pt idx="17">
                  <c:v>44593</c:v>
                </c:pt>
                <c:pt idx="18">
                  <c:v>44621</c:v>
                </c:pt>
                <c:pt idx="19">
                  <c:v>44652</c:v>
                </c:pt>
                <c:pt idx="20">
                  <c:v>44682</c:v>
                </c:pt>
                <c:pt idx="21">
                  <c:v>44713</c:v>
                </c:pt>
                <c:pt idx="22">
                  <c:v>44743</c:v>
                </c:pt>
                <c:pt idx="23">
                  <c:v>44774</c:v>
                </c:pt>
                <c:pt idx="24">
                  <c:v>44805</c:v>
                </c:pt>
                <c:pt idx="25">
                  <c:v>44835</c:v>
                </c:pt>
                <c:pt idx="26">
                  <c:v>44866</c:v>
                </c:pt>
                <c:pt idx="27">
                  <c:v>44896</c:v>
                </c:pt>
                <c:pt idx="28">
                  <c:v>44927</c:v>
                </c:pt>
                <c:pt idx="29">
                  <c:v>44958</c:v>
                </c:pt>
                <c:pt idx="30">
                  <c:v>44986</c:v>
                </c:pt>
                <c:pt idx="31">
                  <c:v>45017</c:v>
                </c:pt>
                <c:pt idx="32">
                  <c:v>45047</c:v>
                </c:pt>
                <c:pt idx="33">
                  <c:v>45078</c:v>
                </c:pt>
                <c:pt idx="34">
                  <c:v>45108</c:v>
                </c:pt>
                <c:pt idx="35">
                  <c:v>45139</c:v>
                </c:pt>
                <c:pt idx="36">
                  <c:v>45170</c:v>
                </c:pt>
                <c:pt idx="37">
                  <c:v>45200</c:v>
                </c:pt>
                <c:pt idx="38">
                  <c:v>45231</c:v>
                </c:pt>
                <c:pt idx="39">
                  <c:v>45261</c:v>
                </c:pt>
                <c:pt idx="40">
                  <c:v>45292</c:v>
                </c:pt>
                <c:pt idx="41">
                  <c:v>45323</c:v>
                </c:pt>
                <c:pt idx="42">
                  <c:v>45352</c:v>
                </c:pt>
                <c:pt idx="43">
                  <c:v>45383</c:v>
                </c:pt>
                <c:pt idx="44">
                  <c:v>45413</c:v>
                </c:pt>
                <c:pt idx="45">
                  <c:v>45444</c:v>
                </c:pt>
                <c:pt idx="46">
                  <c:v>45474</c:v>
                </c:pt>
                <c:pt idx="47">
                  <c:v>45505</c:v>
                </c:pt>
                <c:pt idx="48">
                  <c:v>45536</c:v>
                </c:pt>
                <c:pt idx="49">
                  <c:v>45566</c:v>
                </c:pt>
              </c:numCache>
            </c:numRef>
          </c:cat>
          <c:val>
            <c:numRef>
              <c:f>'Sheet 1'!$B$4:$AY$4</c:f>
              <c:numCache>
                <c:formatCode>#,##0.0;\-#,##0.0</c:formatCode>
                <c:ptCount val="50"/>
                <c:pt idx="0">
                  <c:v>104.76666666666669</c:v>
                </c:pt>
                <c:pt idx="1">
                  <c:v>104.55</c:v>
                </c:pt>
                <c:pt idx="2">
                  <c:v>105.48333333333333</c:v>
                </c:pt>
                <c:pt idx="3">
                  <c:v>105.01666666666667</c:v>
                </c:pt>
                <c:pt idx="4">
                  <c:v>105.96666666666665</c:v>
                </c:pt>
                <c:pt idx="5">
                  <c:v>106.03333333333332</c:v>
                </c:pt>
                <c:pt idx="6">
                  <c:v>105.53333333333332</c:v>
                </c:pt>
                <c:pt idx="7">
                  <c:v>105.43333333333334</c:v>
                </c:pt>
                <c:pt idx="8">
                  <c:v>104.31666666666666</c:v>
                </c:pt>
                <c:pt idx="9">
                  <c:v>104.34999999999998</c:v>
                </c:pt>
                <c:pt idx="10">
                  <c:v>104.39999999999999</c:v>
                </c:pt>
                <c:pt idx="11">
                  <c:v>103.71666666666668</c:v>
                </c:pt>
                <c:pt idx="12">
                  <c:v>100.44999999999999</c:v>
                </c:pt>
                <c:pt idx="13">
                  <c:v>99.066666666666663</c:v>
                </c:pt>
                <c:pt idx="14">
                  <c:v>99.083333333333314</c:v>
                </c:pt>
                <c:pt idx="15">
                  <c:v>101.41666666666667</c:v>
                </c:pt>
                <c:pt idx="16">
                  <c:v>97.216666666666683</c:v>
                </c:pt>
                <c:pt idx="17">
                  <c:v>93.716666666666654</c:v>
                </c:pt>
                <c:pt idx="18">
                  <c:v>93.733333333333334</c:v>
                </c:pt>
                <c:pt idx="19">
                  <c:v>92.166666666666643</c:v>
                </c:pt>
                <c:pt idx="20">
                  <c:v>91.016666666666652</c:v>
                </c:pt>
                <c:pt idx="21">
                  <c:v>89.633333333333326</c:v>
                </c:pt>
                <c:pt idx="22">
                  <c:v>92.3</c:v>
                </c:pt>
                <c:pt idx="23">
                  <c:v>88.783333333333346</c:v>
                </c:pt>
                <c:pt idx="24">
                  <c:v>97.899999999999991</c:v>
                </c:pt>
                <c:pt idx="25">
                  <c:v>96.766666666666666</c:v>
                </c:pt>
                <c:pt idx="26">
                  <c:v>97.883333333333326</c:v>
                </c:pt>
                <c:pt idx="27">
                  <c:v>98.38333333333334</c:v>
                </c:pt>
                <c:pt idx="28">
                  <c:v>101.15000000000002</c:v>
                </c:pt>
                <c:pt idx="29">
                  <c:v>101.33333333333333</c:v>
                </c:pt>
                <c:pt idx="30">
                  <c:v>101.56666666666666</c:v>
                </c:pt>
                <c:pt idx="31">
                  <c:v>101.58333333333333</c:v>
                </c:pt>
                <c:pt idx="32">
                  <c:v>100.98333333333333</c:v>
                </c:pt>
                <c:pt idx="33">
                  <c:v>102.38333333333334</c:v>
                </c:pt>
                <c:pt idx="34">
                  <c:v>102.33333333333333</c:v>
                </c:pt>
                <c:pt idx="35">
                  <c:v>102.36666666666667</c:v>
                </c:pt>
                <c:pt idx="36">
                  <c:v>100.01666666666665</c:v>
                </c:pt>
                <c:pt idx="37">
                  <c:v>101.63333333333334</c:v>
                </c:pt>
                <c:pt idx="38">
                  <c:v>101.99299381062517</c:v>
                </c:pt>
                <c:pt idx="39">
                  <c:v>103.15714285714286</c:v>
                </c:pt>
                <c:pt idx="40">
                  <c:v>103.10000000000001</c:v>
                </c:pt>
                <c:pt idx="41">
                  <c:v>104.23026880319438</c:v>
                </c:pt>
                <c:pt idx="42">
                  <c:v>103.85719007367143</c:v>
                </c:pt>
                <c:pt idx="43">
                  <c:v>104.81428571428572</c:v>
                </c:pt>
                <c:pt idx="44">
                  <c:v>104.37142857142859</c:v>
                </c:pt>
                <c:pt idx="45">
                  <c:v>105.76315364457641</c:v>
                </c:pt>
                <c:pt idx="46">
                  <c:v>106.01670063302663</c:v>
                </c:pt>
                <c:pt idx="47">
                  <c:v>105.61946100123059</c:v>
                </c:pt>
                <c:pt idx="48">
                  <c:v>104.95714285714288</c:v>
                </c:pt>
                <c:pt idx="49">
                  <c:v>104.38571428571429</c:v>
                </c:pt>
              </c:numCache>
            </c:numRef>
          </c:val>
          <c:smooth val="0"/>
          <c:extLst>
            <c:ext xmlns:c16="http://schemas.microsoft.com/office/drawing/2014/chart" uri="{C3380CC4-5D6E-409C-BE32-E72D297353CC}">
              <c16:uniqueId val="{00000001-9758-4A85-9199-3EC373DEAB1F}"/>
            </c:ext>
          </c:extLst>
        </c:ser>
        <c:ser>
          <c:idx val="2"/>
          <c:order val="2"/>
          <c:tx>
            <c:strRef>
              <c:f>'Sheet 1'!$A$5</c:f>
              <c:strCache>
                <c:ptCount val="1"/>
                <c:pt idx="0">
                  <c:v>United Kingdom</c:v>
                </c:pt>
              </c:strCache>
            </c:strRef>
          </c:tx>
          <c:spPr>
            <a:ln w="28575" cap="rnd">
              <a:solidFill>
                <a:srgbClr val="A7A8AA"/>
              </a:solidFill>
              <a:round/>
            </a:ln>
            <a:effectLst/>
          </c:spPr>
          <c:marker>
            <c:symbol val="none"/>
          </c:marker>
          <c:cat>
            <c:numRef>
              <c:f>'Sheet 1'!$B$2:$AY$2</c:f>
              <c:numCache>
                <c:formatCode>m/d/yyyy</c:formatCode>
                <c:ptCount val="50"/>
                <c:pt idx="0">
                  <c:v>44075</c:v>
                </c:pt>
                <c:pt idx="1">
                  <c:v>44105</c:v>
                </c:pt>
                <c:pt idx="2">
                  <c:v>44136</c:v>
                </c:pt>
                <c:pt idx="3">
                  <c:v>44166</c:v>
                </c:pt>
                <c:pt idx="4">
                  <c:v>44197</c:v>
                </c:pt>
                <c:pt idx="5">
                  <c:v>44228</c:v>
                </c:pt>
                <c:pt idx="6">
                  <c:v>44256</c:v>
                </c:pt>
                <c:pt idx="7">
                  <c:v>44287</c:v>
                </c:pt>
                <c:pt idx="8">
                  <c:v>44317</c:v>
                </c:pt>
                <c:pt idx="9">
                  <c:v>44348</c:v>
                </c:pt>
                <c:pt idx="10">
                  <c:v>44378</c:v>
                </c:pt>
                <c:pt idx="11">
                  <c:v>44409</c:v>
                </c:pt>
                <c:pt idx="12">
                  <c:v>44440</c:v>
                </c:pt>
                <c:pt idx="13">
                  <c:v>44470</c:v>
                </c:pt>
                <c:pt idx="14">
                  <c:v>44501</c:v>
                </c:pt>
                <c:pt idx="15">
                  <c:v>44531</c:v>
                </c:pt>
                <c:pt idx="16">
                  <c:v>44562</c:v>
                </c:pt>
                <c:pt idx="17">
                  <c:v>44593</c:v>
                </c:pt>
                <c:pt idx="18">
                  <c:v>44621</c:v>
                </c:pt>
                <c:pt idx="19">
                  <c:v>44652</c:v>
                </c:pt>
                <c:pt idx="20">
                  <c:v>44682</c:v>
                </c:pt>
                <c:pt idx="21">
                  <c:v>44713</c:v>
                </c:pt>
                <c:pt idx="22">
                  <c:v>44743</c:v>
                </c:pt>
                <c:pt idx="23">
                  <c:v>44774</c:v>
                </c:pt>
                <c:pt idx="24">
                  <c:v>44805</c:v>
                </c:pt>
                <c:pt idx="25">
                  <c:v>44835</c:v>
                </c:pt>
                <c:pt idx="26">
                  <c:v>44866</c:v>
                </c:pt>
                <c:pt idx="27">
                  <c:v>44896</c:v>
                </c:pt>
                <c:pt idx="28">
                  <c:v>44927</c:v>
                </c:pt>
                <c:pt idx="29">
                  <c:v>44958</c:v>
                </c:pt>
                <c:pt idx="30">
                  <c:v>44986</c:v>
                </c:pt>
                <c:pt idx="31">
                  <c:v>45017</c:v>
                </c:pt>
                <c:pt idx="32">
                  <c:v>45047</c:v>
                </c:pt>
                <c:pt idx="33">
                  <c:v>45078</c:v>
                </c:pt>
                <c:pt idx="34">
                  <c:v>45108</c:v>
                </c:pt>
                <c:pt idx="35">
                  <c:v>45139</c:v>
                </c:pt>
                <c:pt idx="36">
                  <c:v>45170</c:v>
                </c:pt>
                <c:pt idx="37">
                  <c:v>45200</c:v>
                </c:pt>
                <c:pt idx="38">
                  <c:v>45231</c:v>
                </c:pt>
                <c:pt idx="39">
                  <c:v>45261</c:v>
                </c:pt>
                <c:pt idx="40">
                  <c:v>45292</c:v>
                </c:pt>
                <c:pt idx="41">
                  <c:v>45323</c:v>
                </c:pt>
                <c:pt idx="42">
                  <c:v>45352</c:v>
                </c:pt>
                <c:pt idx="43">
                  <c:v>45383</c:v>
                </c:pt>
                <c:pt idx="44">
                  <c:v>45413</c:v>
                </c:pt>
                <c:pt idx="45">
                  <c:v>45444</c:v>
                </c:pt>
                <c:pt idx="46">
                  <c:v>45474</c:v>
                </c:pt>
                <c:pt idx="47">
                  <c:v>45505</c:v>
                </c:pt>
                <c:pt idx="48">
                  <c:v>45536</c:v>
                </c:pt>
                <c:pt idx="49">
                  <c:v>45566</c:v>
                </c:pt>
              </c:numCache>
            </c:numRef>
          </c:cat>
          <c:val>
            <c:numRef>
              <c:f>'Sheet 1'!$B$5:$AY$5</c:f>
              <c:numCache>
                <c:formatCode>#,##0.0;\-#,##0.0</c:formatCode>
                <c:ptCount val="50"/>
                <c:pt idx="0">
                  <c:v>103.5</c:v>
                </c:pt>
                <c:pt idx="1">
                  <c:v>103.8</c:v>
                </c:pt>
                <c:pt idx="2">
                  <c:v>106.3</c:v>
                </c:pt>
                <c:pt idx="3">
                  <c:v>103.8</c:v>
                </c:pt>
                <c:pt idx="4">
                  <c:v>102.8</c:v>
                </c:pt>
                <c:pt idx="5">
                  <c:v>102.5</c:v>
                </c:pt>
                <c:pt idx="6">
                  <c:v>103.5</c:v>
                </c:pt>
                <c:pt idx="7">
                  <c:v>102.9</c:v>
                </c:pt>
                <c:pt idx="8">
                  <c:v>102.4</c:v>
                </c:pt>
                <c:pt idx="9">
                  <c:v>103.1</c:v>
                </c:pt>
                <c:pt idx="10">
                  <c:v>103.5</c:v>
                </c:pt>
                <c:pt idx="11">
                  <c:v>98.8</c:v>
                </c:pt>
                <c:pt idx="12">
                  <c:v>101.2</c:v>
                </c:pt>
                <c:pt idx="13">
                  <c:v>99.7</c:v>
                </c:pt>
                <c:pt idx="14">
                  <c:v>98.9</c:v>
                </c:pt>
                <c:pt idx="15">
                  <c:v>98.1</c:v>
                </c:pt>
                <c:pt idx="16">
                  <c:v>96.6</c:v>
                </c:pt>
                <c:pt idx="17">
                  <c:v>93.3</c:v>
                </c:pt>
                <c:pt idx="18">
                  <c:v>90.4</c:v>
                </c:pt>
                <c:pt idx="19">
                  <c:v>90.6</c:v>
                </c:pt>
                <c:pt idx="20">
                  <c:v>81.7</c:v>
                </c:pt>
                <c:pt idx="21">
                  <c:v>83.6</c:v>
                </c:pt>
                <c:pt idx="22">
                  <c:v>92.7</c:v>
                </c:pt>
                <c:pt idx="23">
                  <c:v>88</c:v>
                </c:pt>
                <c:pt idx="24">
                  <c:v>95</c:v>
                </c:pt>
                <c:pt idx="25">
                  <c:v>89.3</c:v>
                </c:pt>
                <c:pt idx="26">
                  <c:v>89.1</c:v>
                </c:pt>
                <c:pt idx="27">
                  <c:v>90.9</c:v>
                </c:pt>
                <c:pt idx="28">
                  <c:v>91.3</c:v>
                </c:pt>
                <c:pt idx="29">
                  <c:v>93.5</c:v>
                </c:pt>
                <c:pt idx="30">
                  <c:v>93.1</c:v>
                </c:pt>
                <c:pt idx="31">
                  <c:v>93.6</c:v>
                </c:pt>
                <c:pt idx="32">
                  <c:v>92.7</c:v>
                </c:pt>
                <c:pt idx="33">
                  <c:v>95</c:v>
                </c:pt>
                <c:pt idx="34">
                  <c:v>95.1</c:v>
                </c:pt>
                <c:pt idx="35">
                  <c:v>98.6</c:v>
                </c:pt>
                <c:pt idx="36">
                  <c:v>95.7</c:v>
                </c:pt>
                <c:pt idx="37">
                  <c:v>97.6</c:v>
                </c:pt>
                <c:pt idx="38">
                  <c:v>98.244329821868988</c:v>
                </c:pt>
                <c:pt idx="39">
                  <c:v>102.3</c:v>
                </c:pt>
                <c:pt idx="40">
                  <c:v>95.7</c:v>
                </c:pt>
                <c:pt idx="41">
                  <c:v>99.119158624542123</c:v>
                </c:pt>
                <c:pt idx="42">
                  <c:v>99.377295942930004</c:v>
                </c:pt>
                <c:pt idx="43">
                  <c:v>98.1</c:v>
                </c:pt>
                <c:pt idx="44">
                  <c:v>100.7</c:v>
                </c:pt>
                <c:pt idx="45">
                  <c:v>104.03263134950949</c:v>
                </c:pt>
                <c:pt idx="46">
                  <c:v>103.23640473371727</c:v>
                </c:pt>
                <c:pt idx="47">
                  <c:v>100.79822930825819</c:v>
                </c:pt>
                <c:pt idx="48">
                  <c:v>99.7</c:v>
                </c:pt>
                <c:pt idx="49">
                  <c:v>100.5</c:v>
                </c:pt>
              </c:numCache>
            </c:numRef>
          </c:val>
          <c:smooth val="0"/>
          <c:extLst>
            <c:ext xmlns:c16="http://schemas.microsoft.com/office/drawing/2014/chart" uri="{C3380CC4-5D6E-409C-BE32-E72D297353CC}">
              <c16:uniqueId val="{00000002-9758-4A85-9199-3EC373DEAB1F}"/>
            </c:ext>
          </c:extLst>
        </c:ser>
        <c:ser>
          <c:idx val="3"/>
          <c:order val="3"/>
          <c:tx>
            <c:strRef>
              <c:f>'Sheet 1'!$A$6</c:f>
              <c:strCache>
                <c:ptCount val="1"/>
                <c:pt idx="0">
                  <c:v>United States</c:v>
                </c:pt>
              </c:strCache>
            </c:strRef>
          </c:tx>
          <c:spPr>
            <a:ln w="28575" cap="rnd">
              <a:solidFill>
                <a:schemeClr val="accent1"/>
              </a:solidFill>
              <a:round/>
            </a:ln>
            <a:effectLst/>
          </c:spPr>
          <c:marker>
            <c:symbol val="none"/>
          </c:marker>
          <c:cat>
            <c:numRef>
              <c:f>'Sheet 1'!$B$2:$AY$2</c:f>
              <c:numCache>
                <c:formatCode>m/d/yyyy</c:formatCode>
                <c:ptCount val="50"/>
                <c:pt idx="0">
                  <c:v>44075</c:v>
                </c:pt>
                <c:pt idx="1">
                  <c:v>44105</c:v>
                </c:pt>
                <c:pt idx="2">
                  <c:v>44136</c:v>
                </c:pt>
                <c:pt idx="3">
                  <c:v>44166</c:v>
                </c:pt>
                <c:pt idx="4">
                  <c:v>44197</c:v>
                </c:pt>
                <c:pt idx="5">
                  <c:v>44228</c:v>
                </c:pt>
                <c:pt idx="6">
                  <c:v>44256</c:v>
                </c:pt>
                <c:pt idx="7">
                  <c:v>44287</c:v>
                </c:pt>
                <c:pt idx="8">
                  <c:v>44317</c:v>
                </c:pt>
                <c:pt idx="9">
                  <c:v>44348</c:v>
                </c:pt>
                <c:pt idx="10">
                  <c:v>44378</c:v>
                </c:pt>
                <c:pt idx="11">
                  <c:v>44409</c:v>
                </c:pt>
                <c:pt idx="12">
                  <c:v>44440</c:v>
                </c:pt>
                <c:pt idx="13">
                  <c:v>44470</c:v>
                </c:pt>
                <c:pt idx="14">
                  <c:v>44501</c:v>
                </c:pt>
                <c:pt idx="15">
                  <c:v>44531</c:v>
                </c:pt>
                <c:pt idx="16">
                  <c:v>44562</c:v>
                </c:pt>
                <c:pt idx="17">
                  <c:v>44593</c:v>
                </c:pt>
                <c:pt idx="18">
                  <c:v>44621</c:v>
                </c:pt>
                <c:pt idx="19">
                  <c:v>44652</c:v>
                </c:pt>
                <c:pt idx="20">
                  <c:v>44682</c:v>
                </c:pt>
                <c:pt idx="21">
                  <c:v>44713</c:v>
                </c:pt>
                <c:pt idx="22">
                  <c:v>44743</c:v>
                </c:pt>
                <c:pt idx="23">
                  <c:v>44774</c:v>
                </c:pt>
                <c:pt idx="24">
                  <c:v>44805</c:v>
                </c:pt>
                <c:pt idx="25">
                  <c:v>44835</c:v>
                </c:pt>
                <c:pt idx="26">
                  <c:v>44866</c:v>
                </c:pt>
                <c:pt idx="27">
                  <c:v>44896</c:v>
                </c:pt>
                <c:pt idx="28">
                  <c:v>44927</c:v>
                </c:pt>
                <c:pt idx="29">
                  <c:v>44958</c:v>
                </c:pt>
                <c:pt idx="30">
                  <c:v>44986</c:v>
                </c:pt>
                <c:pt idx="31">
                  <c:v>45017</c:v>
                </c:pt>
                <c:pt idx="32">
                  <c:v>45047</c:v>
                </c:pt>
                <c:pt idx="33">
                  <c:v>45078</c:v>
                </c:pt>
                <c:pt idx="34">
                  <c:v>45108</c:v>
                </c:pt>
                <c:pt idx="35">
                  <c:v>45139</c:v>
                </c:pt>
                <c:pt idx="36">
                  <c:v>45170</c:v>
                </c:pt>
                <c:pt idx="37">
                  <c:v>45200</c:v>
                </c:pt>
                <c:pt idx="38">
                  <c:v>45231</c:v>
                </c:pt>
                <c:pt idx="39">
                  <c:v>45261</c:v>
                </c:pt>
                <c:pt idx="40">
                  <c:v>45292</c:v>
                </c:pt>
                <c:pt idx="41">
                  <c:v>45323</c:v>
                </c:pt>
                <c:pt idx="42">
                  <c:v>45352</c:v>
                </c:pt>
                <c:pt idx="43">
                  <c:v>45383</c:v>
                </c:pt>
                <c:pt idx="44">
                  <c:v>45413</c:v>
                </c:pt>
                <c:pt idx="45">
                  <c:v>45444</c:v>
                </c:pt>
                <c:pt idx="46">
                  <c:v>45474</c:v>
                </c:pt>
                <c:pt idx="47">
                  <c:v>45505</c:v>
                </c:pt>
                <c:pt idx="48">
                  <c:v>45536</c:v>
                </c:pt>
                <c:pt idx="49">
                  <c:v>45566</c:v>
                </c:pt>
              </c:numCache>
            </c:numRef>
          </c:cat>
          <c:val>
            <c:numRef>
              <c:f>'Sheet 1'!$B$6:$AY$6</c:f>
              <c:numCache>
                <c:formatCode>#,##0.0;\-#,##0.0</c:formatCode>
                <c:ptCount val="50"/>
                <c:pt idx="0">
                  <c:v>95.1</c:v>
                </c:pt>
                <c:pt idx="1">
                  <c:v>95.2</c:v>
                </c:pt>
                <c:pt idx="2">
                  <c:v>97.5</c:v>
                </c:pt>
                <c:pt idx="3">
                  <c:v>92.7</c:v>
                </c:pt>
                <c:pt idx="4">
                  <c:v>100.1</c:v>
                </c:pt>
                <c:pt idx="5">
                  <c:v>97.1</c:v>
                </c:pt>
                <c:pt idx="6">
                  <c:v>97.2</c:v>
                </c:pt>
                <c:pt idx="7">
                  <c:v>94.5</c:v>
                </c:pt>
                <c:pt idx="8">
                  <c:v>96</c:v>
                </c:pt>
                <c:pt idx="9">
                  <c:v>96.4</c:v>
                </c:pt>
                <c:pt idx="10">
                  <c:v>93</c:v>
                </c:pt>
                <c:pt idx="11">
                  <c:v>92.4</c:v>
                </c:pt>
                <c:pt idx="12">
                  <c:v>93.4</c:v>
                </c:pt>
                <c:pt idx="13">
                  <c:v>87.1</c:v>
                </c:pt>
                <c:pt idx="14">
                  <c:v>88</c:v>
                </c:pt>
                <c:pt idx="15">
                  <c:v>87.7</c:v>
                </c:pt>
                <c:pt idx="16">
                  <c:v>83.7</c:v>
                </c:pt>
                <c:pt idx="17">
                  <c:v>79.3</c:v>
                </c:pt>
                <c:pt idx="18">
                  <c:v>87.8</c:v>
                </c:pt>
                <c:pt idx="19">
                  <c:v>77.5</c:v>
                </c:pt>
                <c:pt idx="20">
                  <c:v>74.400000000000006</c:v>
                </c:pt>
                <c:pt idx="21">
                  <c:v>70.7</c:v>
                </c:pt>
                <c:pt idx="22">
                  <c:v>78.2</c:v>
                </c:pt>
                <c:pt idx="23">
                  <c:v>86.4</c:v>
                </c:pt>
                <c:pt idx="24">
                  <c:v>97.8</c:v>
                </c:pt>
                <c:pt idx="25">
                  <c:v>95.2</c:v>
                </c:pt>
                <c:pt idx="26">
                  <c:v>94.6</c:v>
                </c:pt>
                <c:pt idx="27">
                  <c:v>99</c:v>
                </c:pt>
                <c:pt idx="28">
                  <c:v>99.8</c:v>
                </c:pt>
                <c:pt idx="29">
                  <c:v>99.6</c:v>
                </c:pt>
                <c:pt idx="30">
                  <c:v>99.7</c:v>
                </c:pt>
                <c:pt idx="31">
                  <c:v>100</c:v>
                </c:pt>
                <c:pt idx="32">
                  <c:v>95.9</c:v>
                </c:pt>
                <c:pt idx="33">
                  <c:v>97.3</c:v>
                </c:pt>
                <c:pt idx="34">
                  <c:v>95.9</c:v>
                </c:pt>
                <c:pt idx="35">
                  <c:v>98.3</c:v>
                </c:pt>
                <c:pt idx="36">
                  <c:v>93.7</c:v>
                </c:pt>
                <c:pt idx="37">
                  <c:v>90.1</c:v>
                </c:pt>
                <c:pt idx="38">
                  <c:v>98.1</c:v>
                </c:pt>
                <c:pt idx="39">
                  <c:v>97.4</c:v>
                </c:pt>
                <c:pt idx="40">
                  <c:v>99</c:v>
                </c:pt>
                <c:pt idx="41">
                  <c:v>98.41958840707936</c:v>
                </c:pt>
                <c:pt idx="42">
                  <c:v>98.703259350424489</c:v>
                </c:pt>
                <c:pt idx="43">
                  <c:v>97.5</c:v>
                </c:pt>
                <c:pt idx="44">
                  <c:v>98.4</c:v>
                </c:pt>
                <c:pt idx="45">
                  <c:v>100.34094456560895</c:v>
                </c:pt>
                <c:pt idx="46">
                  <c:v>102.57580902131625</c:v>
                </c:pt>
                <c:pt idx="47">
                  <c:v>99.334448367979164</c:v>
                </c:pt>
                <c:pt idx="48">
                  <c:v>99</c:v>
                </c:pt>
                <c:pt idx="49">
                  <c:v>104.3</c:v>
                </c:pt>
              </c:numCache>
            </c:numRef>
          </c:val>
          <c:smooth val="0"/>
          <c:extLst>
            <c:ext xmlns:c16="http://schemas.microsoft.com/office/drawing/2014/chart" uri="{C3380CC4-5D6E-409C-BE32-E72D297353CC}">
              <c16:uniqueId val="{00000003-9758-4A85-9199-3EC373DEAB1F}"/>
            </c:ext>
          </c:extLst>
        </c:ser>
        <c:dLbls>
          <c:showLegendKey val="0"/>
          <c:showVal val="0"/>
          <c:showCatName val="0"/>
          <c:showSerName val="0"/>
          <c:showPercent val="0"/>
          <c:showBubbleSize val="0"/>
        </c:dLbls>
        <c:smooth val="0"/>
        <c:axId val="1889047503"/>
        <c:axId val="1889045583"/>
      </c:lineChart>
      <c:dateAx>
        <c:axId val="1889047503"/>
        <c:scaling>
          <c:orientation val="minMax"/>
          <c:min val="44470"/>
        </c:scaling>
        <c:delete val="0"/>
        <c:axPos val="b"/>
        <c:numFmt formatCode="mmm\-yy" sourceLinked="0"/>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89045583"/>
        <c:crosses val="autoZero"/>
        <c:auto val="1"/>
        <c:lblOffset val="100"/>
        <c:baseTimeUnit val="months"/>
        <c:majorUnit val="6"/>
        <c:majorTimeUnit val="months"/>
      </c:dateAx>
      <c:valAx>
        <c:axId val="1889045583"/>
        <c:scaling>
          <c:orientation val="minMax"/>
          <c:min val="60"/>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8904750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41</c:f>
              <c:strCache>
                <c:ptCount val="1"/>
                <c:pt idx="0">
                  <c:v>Essential categories</c:v>
                </c:pt>
              </c:strCache>
            </c:strRef>
          </c:tx>
          <c:spPr>
            <a:solidFill>
              <a:srgbClr val="0076A8"/>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2:$A$53</c:f>
              <c:strCache>
                <c:ptCount val="12"/>
                <c:pt idx="0">
                  <c:v>18-24</c:v>
                </c:pt>
                <c:pt idx="1">
                  <c:v>25-29</c:v>
                </c:pt>
                <c:pt idx="2">
                  <c:v>30-34</c:v>
                </c:pt>
                <c:pt idx="3">
                  <c:v>35-39</c:v>
                </c:pt>
                <c:pt idx="4">
                  <c:v>40-44</c:v>
                </c:pt>
                <c:pt idx="5">
                  <c:v>45-49</c:v>
                </c:pt>
                <c:pt idx="6">
                  <c:v>50-54</c:v>
                </c:pt>
                <c:pt idx="7">
                  <c:v>55-59</c:v>
                </c:pt>
                <c:pt idx="8">
                  <c:v>60-64</c:v>
                </c:pt>
                <c:pt idx="9">
                  <c:v>65-69</c:v>
                </c:pt>
                <c:pt idx="10">
                  <c:v>70-74</c:v>
                </c:pt>
                <c:pt idx="11">
                  <c:v>75+</c:v>
                </c:pt>
              </c:strCache>
            </c:strRef>
          </c:cat>
          <c:val>
            <c:numRef>
              <c:f>Sheet1!$B$42:$B$53</c:f>
              <c:numCache>
                <c:formatCode>0.00%</c:formatCode>
                <c:ptCount val="12"/>
                <c:pt idx="0">
                  <c:v>5.3999999999999999E-2</c:v>
                </c:pt>
                <c:pt idx="1">
                  <c:v>-3.1E-2</c:v>
                </c:pt>
                <c:pt idx="2">
                  <c:v>5.0000000000000001E-3</c:v>
                </c:pt>
                <c:pt idx="3">
                  <c:v>8.9999999999999993E-3</c:v>
                </c:pt>
                <c:pt idx="4">
                  <c:v>1.9E-2</c:v>
                </c:pt>
                <c:pt idx="5">
                  <c:v>2.5999999999999999E-2</c:v>
                </c:pt>
                <c:pt idx="6">
                  <c:v>3.4000000000000002E-2</c:v>
                </c:pt>
                <c:pt idx="7">
                  <c:v>4.2000000000000003E-2</c:v>
                </c:pt>
                <c:pt idx="8">
                  <c:v>4.2000000000000003E-2</c:v>
                </c:pt>
                <c:pt idx="9">
                  <c:v>4.5999999999999999E-2</c:v>
                </c:pt>
                <c:pt idx="10">
                  <c:v>5.2999999999999999E-2</c:v>
                </c:pt>
                <c:pt idx="11">
                  <c:v>6.4000000000000001E-2</c:v>
                </c:pt>
              </c:numCache>
            </c:numRef>
          </c:val>
          <c:extLst>
            <c:ext xmlns:c16="http://schemas.microsoft.com/office/drawing/2014/chart" uri="{C3380CC4-5D6E-409C-BE32-E72D297353CC}">
              <c16:uniqueId val="{00000000-312C-43D7-87DB-69BC45A00270}"/>
            </c:ext>
          </c:extLst>
        </c:ser>
        <c:dLbls>
          <c:showLegendKey val="0"/>
          <c:showVal val="0"/>
          <c:showCatName val="0"/>
          <c:showSerName val="0"/>
          <c:showPercent val="0"/>
          <c:showBubbleSize val="0"/>
        </c:dLbls>
        <c:gapWidth val="182"/>
        <c:axId val="19273968"/>
        <c:axId val="588208127"/>
      </c:barChart>
      <c:catAx>
        <c:axId val="19273968"/>
        <c:scaling>
          <c:orientation val="maxMin"/>
        </c:scaling>
        <c:delete val="0"/>
        <c:axPos val="l"/>
        <c:numFmt formatCode="General" sourceLinked="1"/>
        <c:majorTickMark val="out"/>
        <c:minorTickMark val="none"/>
        <c:tickLblPos val="low"/>
        <c:spPr>
          <a:noFill/>
          <a:ln w="9525" cap="flat" cmpd="sng" algn="ctr">
            <a:solidFill>
              <a:sysClr val="windowText" lastClr="000000"/>
            </a:solidFill>
            <a:round/>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defRPr>
            </a:pPr>
            <a:endParaRPr lang="en-US"/>
          </a:p>
        </c:txPr>
        <c:crossAx val="588208127"/>
        <c:crosses val="autoZero"/>
        <c:auto val="1"/>
        <c:lblAlgn val="ctr"/>
        <c:lblOffset val="100"/>
        <c:noMultiLvlLbl val="0"/>
      </c:catAx>
      <c:valAx>
        <c:axId val="588208127"/>
        <c:scaling>
          <c:orientation val="minMax"/>
        </c:scaling>
        <c:delete val="0"/>
        <c:axPos val="b"/>
        <c:numFmt formatCode="0%" sourceLinked="0"/>
        <c:majorTickMark val="out"/>
        <c:minorTickMark val="none"/>
        <c:tickLblPos val="nextTo"/>
        <c:spPr>
          <a:noFill/>
          <a:ln>
            <a:solidFill>
              <a:sysClr val="windowText" lastClr="000000"/>
            </a:solid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defRPr>
            </a:pPr>
            <a:endParaRPr lang="en-US"/>
          </a:p>
        </c:txPr>
        <c:crossAx val="19273968"/>
        <c:crosses val="max"/>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1"/>
          <c:order val="0"/>
          <c:tx>
            <c:strRef>
              <c:f>Sheet1!$C$41</c:f>
              <c:strCache>
                <c:ptCount val="1"/>
                <c:pt idx="0">
                  <c:v>Discretionary categorie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2:$A$53</c:f>
              <c:strCache>
                <c:ptCount val="12"/>
                <c:pt idx="0">
                  <c:v>18-24</c:v>
                </c:pt>
                <c:pt idx="1">
                  <c:v>25-29</c:v>
                </c:pt>
                <c:pt idx="2">
                  <c:v>30-34</c:v>
                </c:pt>
                <c:pt idx="3">
                  <c:v>35-39</c:v>
                </c:pt>
                <c:pt idx="4">
                  <c:v>40-44</c:v>
                </c:pt>
                <c:pt idx="5">
                  <c:v>45-49</c:v>
                </c:pt>
                <c:pt idx="6">
                  <c:v>50-54</c:v>
                </c:pt>
                <c:pt idx="7">
                  <c:v>55-59</c:v>
                </c:pt>
                <c:pt idx="8">
                  <c:v>60-64</c:v>
                </c:pt>
                <c:pt idx="9">
                  <c:v>65-69</c:v>
                </c:pt>
                <c:pt idx="10">
                  <c:v>70-74</c:v>
                </c:pt>
                <c:pt idx="11">
                  <c:v>75+</c:v>
                </c:pt>
              </c:strCache>
            </c:strRef>
          </c:cat>
          <c:val>
            <c:numRef>
              <c:f>Sheet1!$C$42:$C$53</c:f>
              <c:numCache>
                <c:formatCode>0.00%</c:formatCode>
                <c:ptCount val="12"/>
                <c:pt idx="0">
                  <c:v>-2E-3</c:v>
                </c:pt>
                <c:pt idx="1">
                  <c:v>-3.7999999999999999E-2</c:v>
                </c:pt>
                <c:pt idx="2">
                  <c:v>-1.6E-2</c:v>
                </c:pt>
                <c:pt idx="3">
                  <c:v>-2E-3</c:v>
                </c:pt>
                <c:pt idx="4">
                  <c:v>7.0000000000000001E-3</c:v>
                </c:pt>
                <c:pt idx="5">
                  <c:v>0.01</c:v>
                </c:pt>
                <c:pt idx="6">
                  <c:v>1.6E-2</c:v>
                </c:pt>
                <c:pt idx="7">
                  <c:v>2.7E-2</c:v>
                </c:pt>
                <c:pt idx="8">
                  <c:v>3.2000000000000001E-2</c:v>
                </c:pt>
                <c:pt idx="9">
                  <c:v>4.2000000000000003E-2</c:v>
                </c:pt>
                <c:pt idx="10">
                  <c:v>4.8000000000000001E-2</c:v>
                </c:pt>
                <c:pt idx="11">
                  <c:v>7.3999999999999996E-2</c:v>
                </c:pt>
              </c:numCache>
            </c:numRef>
          </c:val>
          <c:extLst>
            <c:ext xmlns:c16="http://schemas.microsoft.com/office/drawing/2014/chart" uri="{C3380CC4-5D6E-409C-BE32-E72D297353CC}">
              <c16:uniqueId val="{00000000-2252-4C82-978B-51E6952BFFBA}"/>
            </c:ext>
          </c:extLst>
        </c:ser>
        <c:dLbls>
          <c:showLegendKey val="0"/>
          <c:showVal val="0"/>
          <c:showCatName val="0"/>
          <c:showSerName val="0"/>
          <c:showPercent val="0"/>
          <c:showBubbleSize val="0"/>
        </c:dLbls>
        <c:gapWidth val="182"/>
        <c:axId val="19273968"/>
        <c:axId val="588208127"/>
      </c:barChart>
      <c:catAx>
        <c:axId val="19273968"/>
        <c:scaling>
          <c:orientation val="maxMin"/>
        </c:scaling>
        <c:delete val="0"/>
        <c:axPos val="l"/>
        <c:numFmt formatCode="General" sourceLinked="1"/>
        <c:majorTickMark val="out"/>
        <c:minorTickMark val="none"/>
        <c:tickLblPos val="low"/>
        <c:spPr>
          <a:noFill/>
          <a:ln w="9525" cap="flat" cmpd="sng" algn="ctr">
            <a:solidFill>
              <a:sysClr val="windowText" lastClr="000000"/>
            </a:solidFill>
            <a:round/>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defRPr>
            </a:pPr>
            <a:endParaRPr lang="en-US"/>
          </a:p>
        </c:txPr>
        <c:crossAx val="588208127"/>
        <c:crosses val="autoZero"/>
        <c:auto val="1"/>
        <c:lblAlgn val="ctr"/>
        <c:lblOffset val="100"/>
        <c:noMultiLvlLbl val="0"/>
      </c:catAx>
      <c:valAx>
        <c:axId val="588208127"/>
        <c:scaling>
          <c:orientation val="minMax"/>
        </c:scaling>
        <c:delete val="0"/>
        <c:axPos val="b"/>
        <c:numFmt formatCode="0%" sourceLinked="0"/>
        <c:majorTickMark val="out"/>
        <c:minorTickMark val="none"/>
        <c:tickLblPos val="nextTo"/>
        <c:spPr>
          <a:noFill/>
          <a:ln>
            <a:solidFill>
              <a:sysClr val="windowText" lastClr="000000"/>
            </a:solid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defRPr>
            </a:pPr>
            <a:endParaRPr lang="en-US"/>
          </a:p>
        </c:txPr>
        <c:crossAx val="19273968"/>
        <c:crosses val="max"/>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336572864108064E-2"/>
          <c:y val="4.4852177240907239E-2"/>
          <c:w val="0.86422846482962501"/>
          <c:h val="0.76634552036873183"/>
        </c:manualLayout>
      </c:layout>
      <c:barChart>
        <c:barDir val="col"/>
        <c:grouping val="stacked"/>
        <c:varyColors val="0"/>
        <c:ser>
          <c:idx val="0"/>
          <c:order val="0"/>
          <c:tx>
            <c:strRef>
              <c:f>Sheet4!$Z$10</c:f>
              <c:strCache>
                <c:ptCount val="1"/>
                <c:pt idx="0">
                  <c:v>Market</c:v>
                </c:pt>
              </c:strCache>
            </c:strRef>
          </c:tx>
          <c:spPr>
            <a:solidFill>
              <a:srgbClr val="0076A8"/>
            </a:solidFill>
            <a:ln>
              <a:noFill/>
            </a:ln>
            <a:effectLst/>
          </c:spPr>
          <c:invertIfNegative val="0"/>
          <c:cat>
            <c:numRef>
              <c:f>Sheet4!$Y$11:$Y$130</c:f>
              <c:numCache>
                <c:formatCode>mmm\-yyyy</c:formatCode>
                <c:ptCount val="120"/>
                <c:pt idx="0">
                  <c:v>34578</c:v>
                </c:pt>
                <c:pt idx="1">
                  <c:v>34669</c:v>
                </c:pt>
                <c:pt idx="2">
                  <c:v>34759</c:v>
                </c:pt>
                <c:pt idx="3">
                  <c:v>34851</c:v>
                </c:pt>
                <c:pt idx="4">
                  <c:v>34943</c:v>
                </c:pt>
                <c:pt idx="5">
                  <c:v>35034</c:v>
                </c:pt>
                <c:pt idx="6">
                  <c:v>35125</c:v>
                </c:pt>
                <c:pt idx="7">
                  <c:v>35217</c:v>
                </c:pt>
                <c:pt idx="8">
                  <c:v>35309</c:v>
                </c:pt>
                <c:pt idx="9">
                  <c:v>35400</c:v>
                </c:pt>
                <c:pt idx="10">
                  <c:v>35490</c:v>
                </c:pt>
                <c:pt idx="11">
                  <c:v>35582</c:v>
                </c:pt>
                <c:pt idx="12">
                  <c:v>35674</c:v>
                </c:pt>
                <c:pt idx="13">
                  <c:v>35765</c:v>
                </c:pt>
                <c:pt idx="14">
                  <c:v>35855</c:v>
                </c:pt>
                <c:pt idx="15">
                  <c:v>35947</c:v>
                </c:pt>
                <c:pt idx="16">
                  <c:v>36039</c:v>
                </c:pt>
                <c:pt idx="17">
                  <c:v>36130</c:v>
                </c:pt>
                <c:pt idx="18">
                  <c:v>36220</c:v>
                </c:pt>
                <c:pt idx="19">
                  <c:v>36312</c:v>
                </c:pt>
                <c:pt idx="20">
                  <c:v>36404</c:v>
                </c:pt>
                <c:pt idx="21">
                  <c:v>36495</c:v>
                </c:pt>
                <c:pt idx="22">
                  <c:v>36586</c:v>
                </c:pt>
                <c:pt idx="23">
                  <c:v>36678</c:v>
                </c:pt>
                <c:pt idx="24">
                  <c:v>36770</c:v>
                </c:pt>
                <c:pt idx="25">
                  <c:v>36861</c:v>
                </c:pt>
                <c:pt idx="26">
                  <c:v>36951</c:v>
                </c:pt>
                <c:pt idx="27">
                  <c:v>37043</c:v>
                </c:pt>
                <c:pt idx="28">
                  <c:v>37135</c:v>
                </c:pt>
                <c:pt idx="29">
                  <c:v>37226</c:v>
                </c:pt>
                <c:pt idx="30">
                  <c:v>37316</c:v>
                </c:pt>
                <c:pt idx="31">
                  <c:v>37408</c:v>
                </c:pt>
                <c:pt idx="32">
                  <c:v>37500</c:v>
                </c:pt>
                <c:pt idx="33">
                  <c:v>37591</c:v>
                </c:pt>
                <c:pt idx="34">
                  <c:v>37681</c:v>
                </c:pt>
                <c:pt idx="35">
                  <c:v>37773</c:v>
                </c:pt>
                <c:pt idx="36">
                  <c:v>37865</c:v>
                </c:pt>
                <c:pt idx="37">
                  <c:v>37956</c:v>
                </c:pt>
                <c:pt idx="38">
                  <c:v>38047</c:v>
                </c:pt>
                <c:pt idx="39">
                  <c:v>38139</c:v>
                </c:pt>
                <c:pt idx="40">
                  <c:v>38231</c:v>
                </c:pt>
                <c:pt idx="41">
                  <c:v>38322</c:v>
                </c:pt>
                <c:pt idx="42">
                  <c:v>38412</c:v>
                </c:pt>
                <c:pt idx="43">
                  <c:v>38504</c:v>
                </c:pt>
                <c:pt idx="44">
                  <c:v>38596</c:v>
                </c:pt>
                <c:pt idx="45">
                  <c:v>38687</c:v>
                </c:pt>
                <c:pt idx="46">
                  <c:v>38777</c:v>
                </c:pt>
                <c:pt idx="47">
                  <c:v>38869</c:v>
                </c:pt>
                <c:pt idx="48">
                  <c:v>38961</c:v>
                </c:pt>
                <c:pt idx="49">
                  <c:v>39052</c:v>
                </c:pt>
                <c:pt idx="50">
                  <c:v>39142</c:v>
                </c:pt>
                <c:pt idx="51">
                  <c:v>39234</c:v>
                </c:pt>
                <c:pt idx="52">
                  <c:v>39326</c:v>
                </c:pt>
                <c:pt idx="53">
                  <c:v>39417</c:v>
                </c:pt>
                <c:pt idx="54">
                  <c:v>39508</c:v>
                </c:pt>
                <c:pt idx="55">
                  <c:v>39600</c:v>
                </c:pt>
                <c:pt idx="56">
                  <c:v>39692</c:v>
                </c:pt>
                <c:pt idx="57">
                  <c:v>39783</c:v>
                </c:pt>
                <c:pt idx="58">
                  <c:v>39873</c:v>
                </c:pt>
                <c:pt idx="59">
                  <c:v>39965</c:v>
                </c:pt>
                <c:pt idx="60">
                  <c:v>40057</c:v>
                </c:pt>
                <c:pt idx="61">
                  <c:v>40148</c:v>
                </c:pt>
                <c:pt idx="62">
                  <c:v>40238</c:v>
                </c:pt>
                <c:pt idx="63">
                  <c:v>40330</c:v>
                </c:pt>
                <c:pt idx="64">
                  <c:v>40422</c:v>
                </c:pt>
                <c:pt idx="65">
                  <c:v>40513</c:v>
                </c:pt>
                <c:pt idx="66">
                  <c:v>40603</c:v>
                </c:pt>
                <c:pt idx="67">
                  <c:v>40695</c:v>
                </c:pt>
                <c:pt idx="68">
                  <c:v>40787</c:v>
                </c:pt>
                <c:pt idx="69">
                  <c:v>40878</c:v>
                </c:pt>
                <c:pt idx="70">
                  <c:v>40969</c:v>
                </c:pt>
                <c:pt idx="71">
                  <c:v>41061</c:v>
                </c:pt>
                <c:pt idx="72">
                  <c:v>41153</c:v>
                </c:pt>
                <c:pt idx="73">
                  <c:v>41244</c:v>
                </c:pt>
                <c:pt idx="74">
                  <c:v>41334</c:v>
                </c:pt>
                <c:pt idx="75">
                  <c:v>41426</c:v>
                </c:pt>
                <c:pt idx="76">
                  <c:v>41518</c:v>
                </c:pt>
                <c:pt idx="77">
                  <c:v>41609</c:v>
                </c:pt>
                <c:pt idx="78">
                  <c:v>41699</c:v>
                </c:pt>
                <c:pt idx="79">
                  <c:v>41791</c:v>
                </c:pt>
                <c:pt idx="80">
                  <c:v>41883</c:v>
                </c:pt>
                <c:pt idx="81">
                  <c:v>41974</c:v>
                </c:pt>
                <c:pt idx="82">
                  <c:v>42064</c:v>
                </c:pt>
                <c:pt idx="83">
                  <c:v>42156</c:v>
                </c:pt>
                <c:pt idx="84">
                  <c:v>42248</c:v>
                </c:pt>
                <c:pt idx="85">
                  <c:v>42339</c:v>
                </c:pt>
                <c:pt idx="86">
                  <c:v>42430</c:v>
                </c:pt>
                <c:pt idx="87">
                  <c:v>42522</c:v>
                </c:pt>
                <c:pt idx="88">
                  <c:v>42614</c:v>
                </c:pt>
                <c:pt idx="89">
                  <c:v>42705</c:v>
                </c:pt>
                <c:pt idx="90">
                  <c:v>42795</c:v>
                </c:pt>
                <c:pt idx="91">
                  <c:v>42887</c:v>
                </c:pt>
                <c:pt idx="92">
                  <c:v>42979</c:v>
                </c:pt>
                <c:pt idx="93">
                  <c:v>43070</c:v>
                </c:pt>
                <c:pt idx="94">
                  <c:v>43160</c:v>
                </c:pt>
                <c:pt idx="95">
                  <c:v>43252</c:v>
                </c:pt>
                <c:pt idx="96">
                  <c:v>43344</c:v>
                </c:pt>
                <c:pt idx="97">
                  <c:v>43435</c:v>
                </c:pt>
                <c:pt idx="98">
                  <c:v>43525</c:v>
                </c:pt>
                <c:pt idx="99">
                  <c:v>43617</c:v>
                </c:pt>
                <c:pt idx="100">
                  <c:v>43709</c:v>
                </c:pt>
                <c:pt idx="101">
                  <c:v>43800</c:v>
                </c:pt>
                <c:pt idx="102">
                  <c:v>43891</c:v>
                </c:pt>
                <c:pt idx="103">
                  <c:v>43983</c:v>
                </c:pt>
                <c:pt idx="104">
                  <c:v>44075</c:v>
                </c:pt>
                <c:pt idx="105">
                  <c:v>44166</c:v>
                </c:pt>
                <c:pt idx="106">
                  <c:v>44256</c:v>
                </c:pt>
                <c:pt idx="107">
                  <c:v>44348</c:v>
                </c:pt>
                <c:pt idx="108">
                  <c:v>44440</c:v>
                </c:pt>
                <c:pt idx="109">
                  <c:v>44531</c:v>
                </c:pt>
                <c:pt idx="110">
                  <c:v>44621</c:v>
                </c:pt>
                <c:pt idx="111">
                  <c:v>44713</c:v>
                </c:pt>
                <c:pt idx="112">
                  <c:v>44805</c:v>
                </c:pt>
                <c:pt idx="113">
                  <c:v>44896</c:v>
                </c:pt>
                <c:pt idx="114">
                  <c:v>44986</c:v>
                </c:pt>
                <c:pt idx="115">
                  <c:v>45078</c:v>
                </c:pt>
                <c:pt idx="116">
                  <c:v>45170</c:v>
                </c:pt>
                <c:pt idx="117">
                  <c:v>45261</c:v>
                </c:pt>
                <c:pt idx="118">
                  <c:v>45352</c:v>
                </c:pt>
                <c:pt idx="119">
                  <c:v>45444</c:v>
                </c:pt>
              </c:numCache>
            </c:numRef>
          </c:cat>
          <c:val>
            <c:numRef>
              <c:f>Sheet4!$Z$11:$Z$130</c:f>
              <c:numCache>
                <c:formatCode>General</c:formatCode>
                <c:ptCount val="120"/>
                <c:pt idx="4" formatCode="0.0_ ;\-0.0\ ">
                  <c:v>187.63560864768715</c:v>
                </c:pt>
                <c:pt idx="5" formatCode="0.0_ ;\-0.0\ ">
                  <c:v>179.62865027229236</c:v>
                </c:pt>
                <c:pt idx="6" formatCode="0.0_ ;\-0.0\ ">
                  <c:v>134.64666956937344</c:v>
                </c:pt>
                <c:pt idx="7" formatCode="0.0_ ;\-0.0\ ">
                  <c:v>121.46745478514822</c:v>
                </c:pt>
                <c:pt idx="8" formatCode="0.0_ ;\-0.0\ ">
                  <c:v>38.682747425626985</c:v>
                </c:pt>
                <c:pt idx="9" formatCode="0.0_ ;\-0.0\ ">
                  <c:v>-23.770068356972843</c:v>
                </c:pt>
                <c:pt idx="10" formatCode="0.0_ ;\-0.0\ ">
                  <c:v>19.479296944425187</c:v>
                </c:pt>
                <c:pt idx="11" formatCode="0.0_ ;\-0.0\ ">
                  <c:v>-70.367651535462755</c:v>
                </c:pt>
                <c:pt idx="12" formatCode="0.0_ ;\-0.0\ ">
                  <c:v>44.376580998702593</c:v>
                </c:pt>
                <c:pt idx="13" formatCode="0.0_ ;\-0.0\ ">
                  <c:v>74.959774198498053</c:v>
                </c:pt>
                <c:pt idx="14" formatCode="0.0_ ;\-0.0\ ">
                  <c:v>21.355276853415489</c:v>
                </c:pt>
                <c:pt idx="15" formatCode="0.0_ ;\-0.0\ ">
                  <c:v>152.3370377274905</c:v>
                </c:pt>
                <c:pt idx="16" formatCode="0.0_ ;\-0.0\ ">
                  <c:v>174.73411439567553</c:v>
                </c:pt>
                <c:pt idx="17" formatCode="0.0_ ;\-0.0\ ">
                  <c:v>171.81457089975447</c:v>
                </c:pt>
                <c:pt idx="18" formatCode="0.0_ ;\-0.0\ ">
                  <c:v>222.44267860325181</c:v>
                </c:pt>
                <c:pt idx="19" formatCode="0.0_ ;\-0.0\ ">
                  <c:v>167.67832431845545</c:v>
                </c:pt>
                <c:pt idx="20" formatCode="0.0_ ;\-0.0\ ">
                  <c:v>94.373007656745358</c:v>
                </c:pt>
                <c:pt idx="21" formatCode="0.0_ ;\-0.0\ ">
                  <c:v>192.23428080652593</c:v>
                </c:pt>
                <c:pt idx="22" formatCode="0.0_ ;\-0.0\ ">
                  <c:v>200.99107618807921</c:v>
                </c:pt>
                <c:pt idx="23" formatCode="0.0_ ;\-0.0\ ">
                  <c:v>239.44194084056471</c:v>
                </c:pt>
                <c:pt idx="24" formatCode="0.0_ ;\-0.0\ ">
                  <c:v>295.08800084285394</c:v>
                </c:pt>
                <c:pt idx="25" formatCode="0.0_ ;\-0.0\ ">
                  <c:v>130.76156645986066</c:v>
                </c:pt>
                <c:pt idx="26" formatCode="0.0_ ;\-0.0\ ">
                  <c:v>85.577483209483034</c:v>
                </c:pt>
                <c:pt idx="27" formatCode="0.0_ ;\-0.0\ ">
                  <c:v>47.455641319305869</c:v>
                </c:pt>
                <c:pt idx="28" formatCode="0.0_ ;\-0.0\ ">
                  <c:v>-38.119131243361153</c:v>
                </c:pt>
                <c:pt idx="29" formatCode="0.0_ ;\-0.0\ ">
                  <c:v>1.279505713105209</c:v>
                </c:pt>
                <c:pt idx="30" formatCode="0.0_ ;\-0.0\ ">
                  <c:v>61.071164232283991</c:v>
                </c:pt>
                <c:pt idx="31" formatCode="0.0_ ;\-0.0\ ">
                  <c:v>106.84840144665577</c:v>
                </c:pt>
                <c:pt idx="32" formatCode="0.0_ ;\-0.0\ ">
                  <c:v>162.29475984499277</c:v>
                </c:pt>
                <c:pt idx="33" formatCode="0.0_ ;\-0.0\ ">
                  <c:v>253.19495809447653</c:v>
                </c:pt>
                <c:pt idx="34" formatCode="0.0_ ;\-0.0\ ">
                  <c:v>169.74630955059001</c:v>
                </c:pt>
                <c:pt idx="35" formatCode="0.0_ ;\-0.0\ ">
                  <c:v>113.796561503661</c:v>
                </c:pt>
                <c:pt idx="36" formatCode="0.0_ ;\-0.0\ ">
                  <c:v>141.23781428926395</c:v>
                </c:pt>
                <c:pt idx="37" formatCode="0.0_ ;\-0.0\ ">
                  <c:v>123.88205065769671</c:v>
                </c:pt>
                <c:pt idx="38" formatCode="0.0_ ;\-0.0\ ">
                  <c:v>133.35207690677271</c:v>
                </c:pt>
                <c:pt idx="39" formatCode="0.0_ ;\-0.0\ ">
                  <c:v>147.95524593848404</c:v>
                </c:pt>
                <c:pt idx="40" formatCode="0.0_ ;\-0.0\ ">
                  <c:v>160.44032985216018</c:v>
                </c:pt>
                <c:pt idx="41" formatCode="0.0_ ;\-0.0\ ">
                  <c:v>160.18270458414554</c:v>
                </c:pt>
                <c:pt idx="42" formatCode="0.0_ ;\-0.0\ ">
                  <c:v>269.89757760638713</c:v>
                </c:pt>
                <c:pt idx="43" formatCode="0.0_ ;\-0.0\ ">
                  <c:v>314.31320238044282</c:v>
                </c:pt>
                <c:pt idx="44" formatCode="0.0_ ;\-0.0\ ">
                  <c:v>228.27965002652127</c:v>
                </c:pt>
                <c:pt idx="45" formatCode="0.0_ ;\-0.0\ ">
                  <c:v>180.04058775483009</c:v>
                </c:pt>
                <c:pt idx="46" formatCode="0.0_ ;\-0.0\ ">
                  <c:v>92.866048081106783</c:v>
                </c:pt>
                <c:pt idx="47" formatCode="0.0_ ;\-0.0\ ">
                  <c:v>146.34693608426369</c:v>
                </c:pt>
                <c:pt idx="48" formatCode="0.0_ ;\-0.0\ ">
                  <c:v>236.00358923332715</c:v>
                </c:pt>
                <c:pt idx="49" formatCode="0.0_ ;\-0.0\ ">
                  <c:v>263.26531169492409</c:v>
                </c:pt>
                <c:pt idx="50" formatCode="0.0_ ;\-0.0\ ">
                  <c:v>341.3989146885724</c:v>
                </c:pt>
                <c:pt idx="51" formatCode="0.0_ ;\-0.0\ ">
                  <c:v>320.08340805050466</c:v>
                </c:pt>
                <c:pt idx="52" formatCode="0.0_ ;\-0.0\ ">
                  <c:v>287.21102779223838</c:v>
                </c:pt>
                <c:pt idx="53" formatCode="0.0_ ;\-0.0\ ">
                  <c:v>317.51205394227145</c:v>
                </c:pt>
                <c:pt idx="54" formatCode="0.0_ ;\-0.0\ ">
                  <c:v>231.39030491613448</c:v>
                </c:pt>
                <c:pt idx="55" formatCode="0.0_ ;\-0.0\ ">
                  <c:v>194.5409068774552</c:v>
                </c:pt>
                <c:pt idx="56" formatCode="0.0_ ;\-0.0\ ">
                  <c:v>151.10246909645502</c:v>
                </c:pt>
                <c:pt idx="57" formatCode="0.0_ ;\-0.0\ ">
                  <c:v>54.828315735587239</c:v>
                </c:pt>
                <c:pt idx="58" formatCode="0.0_ ;\-0.0\ ">
                  <c:v>-35.802793300224948</c:v>
                </c:pt>
                <c:pt idx="59" formatCode="0.0_ ;\-0.0\ ">
                  <c:v>-115.17973445142889</c:v>
                </c:pt>
                <c:pt idx="60" formatCode="0.0_ ;\-0.0\ ">
                  <c:v>-137.88920752076774</c:v>
                </c:pt>
                <c:pt idx="61" formatCode="0.0_ ;\-0.0\ ">
                  <c:v>-36.396424335884149</c:v>
                </c:pt>
                <c:pt idx="62" formatCode="0.0_ ;\-0.0\ ">
                  <c:v>101.96596743969167</c:v>
                </c:pt>
                <c:pt idx="63" formatCode="0.0_ ;\-0.0\ ">
                  <c:v>149.79271685036474</c:v>
                </c:pt>
                <c:pt idx="64" formatCode="0.0_ ;\-0.0\ ">
                  <c:v>217.02322597980856</c:v>
                </c:pt>
                <c:pt idx="65" formatCode="0.0_ ;\-0.0\ ">
                  <c:v>181.75072223150346</c:v>
                </c:pt>
                <c:pt idx="66" formatCode="0.0_ ;\-0.0\ ">
                  <c:v>132.74152258315735</c:v>
                </c:pt>
                <c:pt idx="67" formatCode="0.0_ ;\-0.0\ ">
                  <c:v>87.848520246896442</c:v>
                </c:pt>
                <c:pt idx="68" formatCode="0.0_ ;\-0.0\ ">
                  <c:v>85.673605619507725</c:v>
                </c:pt>
                <c:pt idx="69" formatCode="0.0_ ;\-0.0\ ">
                  <c:v>84.069658197780882</c:v>
                </c:pt>
                <c:pt idx="70" formatCode="0.0_ ;\-0.0\ ">
                  <c:v>109.00731848070427</c:v>
                </c:pt>
                <c:pt idx="71" formatCode="0.0_ ;\-0.0\ ">
                  <c:v>124.30453973180738</c:v>
                </c:pt>
                <c:pt idx="72" formatCode="0.0_ ;\-0.0\ ">
                  <c:v>154.92063749388399</c:v>
                </c:pt>
                <c:pt idx="73" formatCode="0.0_ ;\-0.0\ ">
                  <c:v>71.939691645282437</c:v>
                </c:pt>
                <c:pt idx="74" formatCode="0.0_ ;\-0.0\ ">
                  <c:v>45.912980896975569</c:v>
                </c:pt>
                <c:pt idx="75" formatCode="0.0_ ;\-0.0\ ">
                  <c:v>75.245359323416778</c:v>
                </c:pt>
                <c:pt idx="76" formatCode="0.0_ ;\-0.0\ ">
                  <c:v>-20.019005110822036</c:v>
                </c:pt>
                <c:pt idx="77" formatCode="0.0_ ;\-0.0\ ">
                  <c:v>-40.849600381436176</c:v>
                </c:pt>
                <c:pt idx="78" formatCode="0.0_ ;\-0.0\ ">
                  <c:v>8.5086751584603917</c:v>
                </c:pt>
                <c:pt idx="79" formatCode="0.0_ ;\-0.0\ ">
                  <c:v>1.4265739699585538</c:v>
                </c:pt>
                <c:pt idx="80" formatCode="0.0_ ;\-0.0\ ">
                  <c:v>-42.546539972479877</c:v>
                </c:pt>
                <c:pt idx="81" formatCode="0.0_ ;\-0.0\ ">
                  <c:v>74.611480708339514</c:v>
                </c:pt>
                <c:pt idx="82" formatCode="0.0_ ;\-0.0\ ">
                  <c:v>52.808591287646777</c:v>
                </c:pt>
                <c:pt idx="83" formatCode="0.0_ ;\-0.0\ ">
                  <c:v>76.451992289181362</c:v>
                </c:pt>
                <c:pt idx="84" formatCode="0.0_ ;\-0.0\ ">
                  <c:v>177.16645511243405</c:v>
                </c:pt>
                <c:pt idx="85" formatCode="0.0_ ;\-0.0\ ">
                  <c:v>163.504086002853</c:v>
                </c:pt>
                <c:pt idx="86" formatCode="0.0_ ;\-0.0\ ">
                  <c:v>172.6099789205382</c:v>
                </c:pt>
                <c:pt idx="87" formatCode="0.0_ ;\-0.0\ ">
                  <c:v>98.091966702309946</c:v>
                </c:pt>
                <c:pt idx="88" formatCode="0.0_ ;\-0.0\ ">
                  <c:v>-10.608426026317829</c:v>
                </c:pt>
                <c:pt idx="89" formatCode="0.0_ ;\-0.0\ ">
                  <c:v>-2.4696785458691011</c:v>
                </c:pt>
                <c:pt idx="90" formatCode="0.0_ ;\-0.0\ ">
                  <c:v>-16.622423839084149</c:v>
                </c:pt>
                <c:pt idx="91" formatCode="0.0_ ;\-0.0\ ">
                  <c:v>125.42471033664151</c:v>
                </c:pt>
                <c:pt idx="92" formatCode="0.0_ ;\-0.0\ ">
                  <c:v>285.33390678417345</c:v>
                </c:pt>
                <c:pt idx="93" formatCode="0.0_ ;\-0.0\ ">
                  <c:v>317.5285182633379</c:v>
                </c:pt>
                <c:pt idx="94" formatCode="0.0_ ;\-0.0\ ">
                  <c:v>300.12928153576286</c:v>
                </c:pt>
                <c:pt idx="95" formatCode="0.0_ ;\-0.0\ ">
                  <c:v>268.83159374889328</c:v>
                </c:pt>
                <c:pt idx="96" formatCode="0.0_ ;\-0.0\ ">
                  <c:v>202.7538649034359</c:v>
                </c:pt>
                <c:pt idx="97" formatCode="0.0_ ;\-0.0\ ">
                  <c:v>134.94753279714496</c:v>
                </c:pt>
                <c:pt idx="98" formatCode="0.0_ ;\-0.0\ ">
                  <c:v>211.61974533273678</c:v>
                </c:pt>
                <c:pt idx="99" formatCode="0.0_ ;\-0.0\ ">
                  <c:v>107.98042666287074</c:v>
                </c:pt>
                <c:pt idx="100" formatCode="0.0_ ;\-0.0\ ">
                  <c:v>165.92607317867623</c:v>
                </c:pt>
                <c:pt idx="101" formatCode="0.0_ ;\-0.0\ ">
                  <c:v>205.98834079303742</c:v>
                </c:pt>
                <c:pt idx="102" formatCode="0.0_ ;\-0.0\ ">
                  <c:v>27.071042512170607</c:v>
                </c:pt>
                <c:pt idx="103" formatCode="0.0_ ;\-0.0\ ">
                  <c:v>-508.13179288751417</c:v>
                </c:pt>
                <c:pt idx="104" formatCode="0.0_ ;\-0.0\ ">
                  <c:v>-441.31256462514466</c:v>
                </c:pt>
                <c:pt idx="105" formatCode="0.0_ ;\-0.0\ ">
                  <c:v>-287.17348496003069</c:v>
                </c:pt>
                <c:pt idx="106" formatCode="0.0_ ;\-0.0\ ">
                  <c:v>-83.722660255823939</c:v>
                </c:pt>
                <c:pt idx="107" formatCode="0.0_ ;\-0.0\ ">
                  <c:v>584.10007540453444</c:v>
                </c:pt>
                <c:pt idx="108" formatCode="0.0_ ;\-0.0\ ">
                  <c:v>114.83959952981604</c:v>
                </c:pt>
                <c:pt idx="109" formatCode="0.0_ ;\-0.0\ ">
                  <c:v>347.43611775080353</c:v>
                </c:pt>
                <c:pt idx="110" formatCode="0.0_ ;\-0.0\ ">
                  <c:v>286.20919693269752</c:v>
                </c:pt>
                <c:pt idx="111" formatCode="0.0_ ;\-0.0\ ">
                  <c:v>352.0545807790113</c:v>
                </c:pt>
                <c:pt idx="112" formatCode="0.0_ ;\-0.0\ ">
                  <c:v>695.04584283987242</c:v>
                </c:pt>
                <c:pt idx="113" formatCode="0.0_ ;\-0.0\ ">
                  <c:v>399.63682520385373</c:v>
                </c:pt>
                <c:pt idx="114" formatCode="0.0_ ;\-0.0\ ">
                  <c:v>319.15822132851827</c:v>
                </c:pt>
                <c:pt idx="115" formatCode="0.0_ ;\-0.0\ ">
                  <c:v>174.8648635405425</c:v>
                </c:pt>
                <c:pt idx="116" formatCode="0.0_ ;\-0.0\ ">
                  <c:v>148.5747495624546</c:v>
                </c:pt>
                <c:pt idx="117" formatCode="0.0_ ;\-0.0\ ">
                  <c:v>42.87148285740659</c:v>
                </c:pt>
                <c:pt idx="118" formatCode="0.0_ ;\-0.0\ ">
                  <c:v>40.479258369330637</c:v>
                </c:pt>
                <c:pt idx="119" formatCode="0.0_ ;\-0.0\ ">
                  <c:v>102.01855111689838</c:v>
                </c:pt>
              </c:numCache>
            </c:numRef>
          </c:val>
          <c:extLst>
            <c:ext xmlns:c16="http://schemas.microsoft.com/office/drawing/2014/chart" uri="{C3380CC4-5D6E-409C-BE32-E72D297353CC}">
              <c16:uniqueId val="{00000000-0D4E-48B4-886B-F22B96686E90}"/>
            </c:ext>
          </c:extLst>
        </c:ser>
        <c:ser>
          <c:idx val="1"/>
          <c:order val="1"/>
          <c:tx>
            <c:strRef>
              <c:f>Sheet4!$AA$10</c:f>
              <c:strCache>
                <c:ptCount val="1"/>
                <c:pt idx="0">
                  <c:v>Non-Market</c:v>
                </c:pt>
              </c:strCache>
            </c:strRef>
          </c:tx>
          <c:spPr>
            <a:solidFill>
              <a:srgbClr val="A7A8AA"/>
            </a:solidFill>
            <a:ln>
              <a:noFill/>
            </a:ln>
            <a:effectLst/>
          </c:spPr>
          <c:invertIfNegative val="0"/>
          <c:cat>
            <c:numRef>
              <c:f>Sheet4!$Y$11:$Y$130</c:f>
              <c:numCache>
                <c:formatCode>mmm\-yyyy</c:formatCode>
                <c:ptCount val="120"/>
                <c:pt idx="0">
                  <c:v>34578</c:v>
                </c:pt>
                <c:pt idx="1">
                  <c:v>34669</c:v>
                </c:pt>
                <c:pt idx="2">
                  <c:v>34759</c:v>
                </c:pt>
                <c:pt idx="3">
                  <c:v>34851</c:v>
                </c:pt>
                <c:pt idx="4">
                  <c:v>34943</c:v>
                </c:pt>
                <c:pt idx="5">
                  <c:v>35034</c:v>
                </c:pt>
                <c:pt idx="6">
                  <c:v>35125</c:v>
                </c:pt>
                <c:pt idx="7">
                  <c:v>35217</c:v>
                </c:pt>
                <c:pt idx="8">
                  <c:v>35309</c:v>
                </c:pt>
                <c:pt idx="9">
                  <c:v>35400</c:v>
                </c:pt>
                <c:pt idx="10">
                  <c:v>35490</c:v>
                </c:pt>
                <c:pt idx="11">
                  <c:v>35582</c:v>
                </c:pt>
                <c:pt idx="12">
                  <c:v>35674</c:v>
                </c:pt>
                <c:pt idx="13">
                  <c:v>35765</c:v>
                </c:pt>
                <c:pt idx="14">
                  <c:v>35855</c:v>
                </c:pt>
                <c:pt idx="15">
                  <c:v>35947</c:v>
                </c:pt>
                <c:pt idx="16">
                  <c:v>36039</c:v>
                </c:pt>
                <c:pt idx="17">
                  <c:v>36130</c:v>
                </c:pt>
                <c:pt idx="18">
                  <c:v>36220</c:v>
                </c:pt>
                <c:pt idx="19">
                  <c:v>36312</c:v>
                </c:pt>
                <c:pt idx="20">
                  <c:v>36404</c:v>
                </c:pt>
                <c:pt idx="21">
                  <c:v>36495</c:v>
                </c:pt>
                <c:pt idx="22">
                  <c:v>36586</c:v>
                </c:pt>
                <c:pt idx="23">
                  <c:v>36678</c:v>
                </c:pt>
                <c:pt idx="24">
                  <c:v>36770</c:v>
                </c:pt>
                <c:pt idx="25">
                  <c:v>36861</c:v>
                </c:pt>
                <c:pt idx="26">
                  <c:v>36951</c:v>
                </c:pt>
                <c:pt idx="27">
                  <c:v>37043</c:v>
                </c:pt>
                <c:pt idx="28">
                  <c:v>37135</c:v>
                </c:pt>
                <c:pt idx="29">
                  <c:v>37226</c:v>
                </c:pt>
                <c:pt idx="30">
                  <c:v>37316</c:v>
                </c:pt>
                <c:pt idx="31">
                  <c:v>37408</c:v>
                </c:pt>
                <c:pt idx="32">
                  <c:v>37500</c:v>
                </c:pt>
                <c:pt idx="33">
                  <c:v>37591</c:v>
                </c:pt>
                <c:pt idx="34">
                  <c:v>37681</c:v>
                </c:pt>
                <c:pt idx="35">
                  <c:v>37773</c:v>
                </c:pt>
                <c:pt idx="36">
                  <c:v>37865</c:v>
                </c:pt>
                <c:pt idx="37">
                  <c:v>37956</c:v>
                </c:pt>
                <c:pt idx="38">
                  <c:v>38047</c:v>
                </c:pt>
                <c:pt idx="39">
                  <c:v>38139</c:v>
                </c:pt>
                <c:pt idx="40">
                  <c:v>38231</c:v>
                </c:pt>
                <c:pt idx="41">
                  <c:v>38322</c:v>
                </c:pt>
                <c:pt idx="42">
                  <c:v>38412</c:v>
                </c:pt>
                <c:pt idx="43">
                  <c:v>38504</c:v>
                </c:pt>
                <c:pt idx="44">
                  <c:v>38596</c:v>
                </c:pt>
                <c:pt idx="45">
                  <c:v>38687</c:v>
                </c:pt>
                <c:pt idx="46">
                  <c:v>38777</c:v>
                </c:pt>
                <c:pt idx="47">
                  <c:v>38869</c:v>
                </c:pt>
                <c:pt idx="48">
                  <c:v>38961</c:v>
                </c:pt>
                <c:pt idx="49">
                  <c:v>39052</c:v>
                </c:pt>
                <c:pt idx="50">
                  <c:v>39142</c:v>
                </c:pt>
                <c:pt idx="51">
                  <c:v>39234</c:v>
                </c:pt>
                <c:pt idx="52">
                  <c:v>39326</c:v>
                </c:pt>
                <c:pt idx="53">
                  <c:v>39417</c:v>
                </c:pt>
                <c:pt idx="54">
                  <c:v>39508</c:v>
                </c:pt>
                <c:pt idx="55">
                  <c:v>39600</c:v>
                </c:pt>
                <c:pt idx="56">
                  <c:v>39692</c:v>
                </c:pt>
                <c:pt idx="57">
                  <c:v>39783</c:v>
                </c:pt>
                <c:pt idx="58">
                  <c:v>39873</c:v>
                </c:pt>
                <c:pt idx="59">
                  <c:v>39965</c:v>
                </c:pt>
                <c:pt idx="60">
                  <c:v>40057</c:v>
                </c:pt>
                <c:pt idx="61">
                  <c:v>40148</c:v>
                </c:pt>
                <c:pt idx="62">
                  <c:v>40238</c:v>
                </c:pt>
                <c:pt idx="63">
                  <c:v>40330</c:v>
                </c:pt>
                <c:pt idx="64">
                  <c:v>40422</c:v>
                </c:pt>
                <c:pt idx="65">
                  <c:v>40513</c:v>
                </c:pt>
                <c:pt idx="66">
                  <c:v>40603</c:v>
                </c:pt>
                <c:pt idx="67">
                  <c:v>40695</c:v>
                </c:pt>
                <c:pt idx="68">
                  <c:v>40787</c:v>
                </c:pt>
                <c:pt idx="69">
                  <c:v>40878</c:v>
                </c:pt>
                <c:pt idx="70">
                  <c:v>40969</c:v>
                </c:pt>
                <c:pt idx="71">
                  <c:v>41061</c:v>
                </c:pt>
                <c:pt idx="72">
                  <c:v>41153</c:v>
                </c:pt>
                <c:pt idx="73">
                  <c:v>41244</c:v>
                </c:pt>
                <c:pt idx="74">
                  <c:v>41334</c:v>
                </c:pt>
                <c:pt idx="75">
                  <c:v>41426</c:v>
                </c:pt>
                <c:pt idx="76">
                  <c:v>41518</c:v>
                </c:pt>
                <c:pt idx="77">
                  <c:v>41609</c:v>
                </c:pt>
                <c:pt idx="78">
                  <c:v>41699</c:v>
                </c:pt>
                <c:pt idx="79">
                  <c:v>41791</c:v>
                </c:pt>
                <c:pt idx="80">
                  <c:v>41883</c:v>
                </c:pt>
                <c:pt idx="81">
                  <c:v>41974</c:v>
                </c:pt>
                <c:pt idx="82">
                  <c:v>42064</c:v>
                </c:pt>
                <c:pt idx="83">
                  <c:v>42156</c:v>
                </c:pt>
                <c:pt idx="84">
                  <c:v>42248</c:v>
                </c:pt>
                <c:pt idx="85">
                  <c:v>42339</c:v>
                </c:pt>
                <c:pt idx="86">
                  <c:v>42430</c:v>
                </c:pt>
                <c:pt idx="87">
                  <c:v>42522</c:v>
                </c:pt>
                <c:pt idx="88">
                  <c:v>42614</c:v>
                </c:pt>
                <c:pt idx="89">
                  <c:v>42705</c:v>
                </c:pt>
                <c:pt idx="90">
                  <c:v>42795</c:v>
                </c:pt>
                <c:pt idx="91">
                  <c:v>42887</c:v>
                </c:pt>
                <c:pt idx="92">
                  <c:v>42979</c:v>
                </c:pt>
                <c:pt idx="93">
                  <c:v>43070</c:v>
                </c:pt>
                <c:pt idx="94">
                  <c:v>43160</c:v>
                </c:pt>
                <c:pt idx="95">
                  <c:v>43252</c:v>
                </c:pt>
                <c:pt idx="96">
                  <c:v>43344</c:v>
                </c:pt>
                <c:pt idx="97">
                  <c:v>43435</c:v>
                </c:pt>
                <c:pt idx="98">
                  <c:v>43525</c:v>
                </c:pt>
                <c:pt idx="99">
                  <c:v>43617</c:v>
                </c:pt>
                <c:pt idx="100">
                  <c:v>43709</c:v>
                </c:pt>
                <c:pt idx="101">
                  <c:v>43800</c:v>
                </c:pt>
                <c:pt idx="102">
                  <c:v>43891</c:v>
                </c:pt>
                <c:pt idx="103">
                  <c:v>43983</c:v>
                </c:pt>
                <c:pt idx="104">
                  <c:v>44075</c:v>
                </c:pt>
                <c:pt idx="105">
                  <c:v>44166</c:v>
                </c:pt>
                <c:pt idx="106">
                  <c:v>44256</c:v>
                </c:pt>
                <c:pt idx="107">
                  <c:v>44348</c:v>
                </c:pt>
                <c:pt idx="108">
                  <c:v>44440</c:v>
                </c:pt>
                <c:pt idx="109">
                  <c:v>44531</c:v>
                </c:pt>
                <c:pt idx="110">
                  <c:v>44621</c:v>
                </c:pt>
                <c:pt idx="111">
                  <c:v>44713</c:v>
                </c:pt>
                <c:pt idx="112">
                  <c:v>44805</c:v>
                </c:pt>
                <c:pt idx="113">
                  <c:v>44896</c:v>
                </c:pt>
                <c:pt idx="114">
                  <c:v>44986</c:v>
                </c:pt>
                <c:pt idx="115">
                  <c:v>45078</c:v>
                </c:pt>
                <c:pt idx="116">
                  <c:v>45170</c:v>
                </c:pt>
                <c:pt idx="117">
                  <c:v>45261</c:v>
                </c:pt>
                <c:pt idx="118">
                  <c:v>45352</c:v>
                </c:pt>
                <c:pt idx="119">
                  <c:v>45444</c:v>
                </c:pt>
              </c:numCache>
            </c:numRef>
          </c:cat>
          <c:val>
            <c:numRef>
              <c:f>Sheet4!$AA$11:$AA$130</c:f>
              <c:numCache>
                <c:formatCode>General</c:formatCode>
                <c:ptCount val="120"/>
                <c:pt idx="4" formatCode="0.0_ ;\-0.0\ ">
                  <c:v>51.110580462642929</c:v>
                </c:pt>
                <c:pt idx="5" formatCode="0.0_ ;\-0.0\ ">
                  <c:v>45.21723114527822</c:v>
                </c:pt>
                <c:pt idx="6" formatCode="0.0_ ;\-0.0\ ">
                  <c:v>44.42152923029721</c:v>
                </c:pt>
                <c:pt idx="7" formatCode="0.0_ ;\-0.0\ ">
                  <c:v>-1.1642512574978809</c:v>
                </c:pt>
                <c:pt idx="8" formatCode="0.0_ ;\-0.0\ ">
                  <c:v>45.283939049721994</c:v>
                </c:pt>
                <c:pt idx="9" formatCode="0.0_ ;\-0.0\ ">
                  <c:v>75.820377921241743</c:v>
                </c:pt>
                <c:pt idx="10" formatCode="0.0_ ;\-0.0\ ">
                  <c:v>41.678552624835902</c:v>
                </c:pt>
                <c:pt idx="11" formatCode="0.0_ ;\-0.0\ ">
                  <c:v>67.804290418922847</c:v>
                </c:pt>
                <c:pt idx="12" formatCode="0.0_ ;\-0.0\ ">
                  <c:v>47.76836598958721</c:v>
                </c:pt>
                <c:pt idx="13" formatCode="0.0_ ;\-0.0\ ">
                  <c:v>52.032627731343382</c:v>
                </c:pt>
                <c:pt idx="14" formatCode="0.0_ ;\-0.0\ ">
                  <c:v>84.574220563074277</c:v>
                </c:pt>
                <c:pt idx="15" formatCode="0.0_ ;\-0.0\ ">
                  <c:v>51.123173652969399</c:v>
                </c:pt>
                <c:pt idx="16" formatCode="0.0_ ;\-0.0\ ">
                  <c:v>13.523463147995699</c:v>
                </c:pt>
                <c:pt idx="17" formatCode="0.0_ ;\-0.0\ ">
                  <c:v>-49.100366131304099</c:v>
                </c:pt>
                <c:pt idx="18" formatCode="0.0_ ;\-0.0\ ">
                  <c:v>-50.226311428812323</c:v>
                </c:pt>
                <c:pt idx="19" formatCode="0.0_ ;\-0.0\ ">
                  <c:v>-26.016026291935304</c:v>
                </c:pt>
                <c:pt idx="20" formatCode="0.0_ ;\-0.0\ ">
                  <c:v>7.8770710548728857</c:v>
                </c:pt>
                <c:pt idx="21" formatCode="0.0_ ;\-0.0\ ">
                  <c:v>21.431016746502564</c:v>
                </c:pt>
                <c:pt idx="22" formatCode="0.0_ ;\-0.0\ ">
                  <c:v>11.905142616830972</c:v>
                </c:pt>
                <c:pt idx="23" formatCode="0.0_ ;\-0.0\ ">
                  <c:v>22.897432513365857</c:v>
                </c:pt>
                <c:pt idx="24" formatCode="0.0_ ;\-0.0\ ">
                  <c:v>21.562425437988168</c:v>
                </c:pt>
                <c:pt idx="25" formatCode="0.0_ ;\-0.0\ ">
                  <c:v>42.278711764379295</c:v>
                </c:pt>
                <c:pt idx="26" formatCode="0.0_ ;\-0.0\ ">
                  <c:v>51.045202598415926</c:v>
                </c:pt>
                <c:pt idx="27" formatCode="0.0_ ;\-0.0\ ">
                  <c:v>68.366661786384157</c:v>
                </c:pt>
                <c:pt idx="28" formatCode="0.0_ ;\-0.0\ ">
                  <c:v>80.988008244380126</c:v>
                </c:pt>
                <c:pt idx="29" formatCode="0.0_ ;\-0.0\ ">
                  <c:v>114.74392577395611</c:v>
                </c:pt>
                <c:pt idx="30" formatCode="0.0_ ;\-0.0\ ">
                  <c:v>88.467650808986946</c:v>
                </c:pt>
                <c:pt idx="31" formatCode="0.0_ ;\-0.0\ ">
                  <c:v>36.832818460414273</c:v>
                </c:pt>
                <c:pt idx="32" formatCode="0.0_ ;\-0.0\ ">
                  <c:v>30.315401157137785</c:v>
                </c:pt>
                <c:pt idx="33" formatCode="0.0_ ;\-0.0\ ">
                  <c:v>18.34463519096289</c:v>
                </c:pt>
                <c:pt idx="34" formatCode="0.0_ ;\-0.0\ ">
                  <c:v>67.170950958180129</c:v>
                </c:pt>
                <c:pt idx="35" formatCode="0.0_ ;\-0.0\ ">
                  <c:v>77.139291258857611</c:v>
                </c:pt>
                <c:pt idx="36" formatCode="0.0_ ;\-0.0\ ">
                  <c:v>54.99278033538485</c:v>
                </c:pt>
                <c:pt idx="37" formatCode="0.0_ ;\-0.0\ ">
                  <c:v>34.205337709633113</c:v>
                </c:pt>
                <c:pt idx="38" formatCode="0.0_ ;\-0.0\ ">
                  <c:v>32.64403622081727</c:v>
                </c:pt>
                <c:pt idx="39" formatCode="0.0_ ;\-0.0\ ">
                  <c:v>57.180810108176047</c:v>
                </c:pt>
                <c:pt idx="40" formatCode="0.0_ ;\-0.0\ ">
                  <c:v>33.812440263161079</c:v>
                </c:pt>
                <c:pt idx="41" formatCode="0.0_ ;\-0.0\ ">
                  <c:v>68.086873574164201</c:v>
                </c:pt>
                <c:pt idx="42" formatCode="0.0_ ;\-0.0\ ">
                  <c:v>54.673086436103858</c:v>
                </c:pt>
                <c:pt idx="43" formatCode="0.0_ ;\-0.0\ ">
                  <c:v>42.25900301837828</c:v>
                </c:pt>
                <c:pt idx="44" formatCode="0.0_ ;\-0.0\ ">
                  <c:v>109.20104430788933</c:v>
                </c:pt>
                <c:pt idx="45" formatCode="0.0_ ;\-0.0\ ">
                  <c:v>55.564393399700748</c:v>
                </c:pt>
                <c:pt idx="46" formatCode="0.0_ ;\-0.0\ ">
                  <c:v>108.62960376669207</c:v>
                </c:pt>
                <c:pt idx="47" formatCode="0.0_ ;\-0.0\ ">
                  <c:v>90.119989249535593</c:v>
                </c:pt>
                <c:pt idx="48" formatCode="0.0_ ;\-0.0\ ">
                  <c:v>77.939754180471482</c:v>
                </c:pt>
                <c:pt idx="49" formatCode="0.0_ ;\-0.0\ ">
                  <c:v>90.60578286867576</c:v>
                </c:pt>
                <c:pt idx="50" formatCode="0.0_ ;\-0.0\ ">
                  <c:v>-19.458797507972122</c:v>
                </c:pt>
                <c:pt idx="51" formatCode="0.0_ ;\-0.0\ ">
                  <c:v>-14.527636876102861</c:v>
                </c:pt>
                <c:pt idx="52" formatCode="0.0_ ;\-0.0\ ">
                  <c:v>-26.661479892039097</c:v>
                </c:pt>
                <c:pt idx="53" formatCode="0.0_ ;\-0.0\ ">
                  <c:v>-4.112951398372843</c:v>
                </c:pt>
                <c:pt idx="54" formatCode="0.0_ ;\-0.0\ ">
                  <c:v>109.44248986496586</c:v>
                </c:pt>
                <c:pt idx="55" formatCode="0.0_ ;\-0.0\ ">
                  <c:v>120.09587187954321</c:v>
                </c:pt>
                <c:pt idx="56" formatCode="0.0_ ;\-0.0\ ">
                  <c:v>117.26793351594642</c:v>
                </c:pt>
                <c:pt idx="57" formatCode="0.0_ ;\-0.0\ ">
                  <c:v>142.34335653231301</c:v>
                </c:pt>
                <c:pt idx="58" formatCode="0.0_ ;\-0.0\ ">
                  <c:v>131.44541138412433</c:v>
                </c:pt>
                <c:pt idx="59" formatCode="0.0_ ;\-0.0\ ">
                  <c:v>131.67318277402774</c:v>
                </c:pt>
                <c:pt idx="60" formatCode="0.0_ ;\-0.0\ ">
                  <c:v>151.65130262676666</c:v>
                </c:pt>
                <c:pt idx="61" formatCode="0.0_ ;\-0.0\ ">
                  <c:v>126.36768781488399</c:v>
                </c:pt>
                <c:pt idx="62" formatCode="0.0_ ;\-0.0\ ">
                  <c:v>32.214082613807932</c:v>
                </c:pt>
                <c:pt idx="63" formatCode="0.0_ ;\-0.0\ ">
                  <c:v>82.728681174236954</c:v>
                </c:pt>
                <c:pt idx="64" formatCode="0.0_ ;\-0.0\ ">
                  <c:v>72.043178453992368</c:v>
                </c:pt>
                <c:pt idx="65" formatCode="0.0_ ;\-0.0\ ">
                  <c:v>96.225524286895961</c:v>
                </c:pt>
                <c:pt idx="66" formatCode="0.0_ ;\-0.0\ ">
                  <c:v>150.42964972064283</c:v>
                </c:pt>
                <c:pt idx="67" formatCode="0.0_ ;\-0.0\ ">
                  <c:v>118.18240732360391</c:v>
                </c:pt>
                <c:pt idx="68" formatCode="0.0_ ;\-0.0\ ">
                  <c:v>97.188476279892711</c:v>
                </c:pt>
                <c:pt idx="69" formatCode="0.0_ ;\-0.0\ ">
                  <c:v>-12.081042993480878</c:v>
                </c:pt>
                <c:pt idx="70" formatCode="0.0_ ;\-0.0\ ">
                  <c:v>13.59464907069605</c:v>
                </c:pt>
                <c:pt idx="71" formatCode="0.0_ ;\-0.0\ ">
                  <c:v>27.865857770191269</c:v>
                </c:pt>
                <c:pt idx="72" formatCode="0.0_ ;\-0.0\ ">
                  <c:v>-7.7360710803832262</c:v>
                </c:pt>
                <c:pt idx="73" formatCode="0.0_ ;\-0.0\ ">
                  <c:v>117.04261703231896</c:v>
                </c:pt>
                <c:pt idx="74" formatCode="0.0_ ;\-0.0\ ">
                  <c:v>63.402292801223666</c:v>
                </c:pt>
                <c:pt idx="75" formatCode="0.0_ ;\-0.0\ ">
                  <c:v>42.185777254584991</c:v>
                </c:pt>
                <c:pt idx="76" formatCode="0.0_ ;\-0.0\ ">
                  <c:v>98.41153591442071</c:v>
                </c:pt>
                <c:pt idx="77" formatCode="0.0_ ;\-0.0\ ">
                  <c:v>13.544850835734906</c:v>
                </c:pt>
                <c:pt idx="78" formatCode="0.0_ ;\-0.0\ ">
                  <c:v>73.950741186739378</c:v>
                </c:pt>
                <c:pt idx="79" formatCode="0.0_ ;\-0.0\ ">
                  <c:v>59.624251104040013</c:v>
                </c:pt>
                <c:pt idx="80" formatCode="0.0_ ;\-0.0\ ">
                  <c:v>59.518558651379863</c:v>
                </c:pt>
                <c:pt idx="81" formatCode="0.0_ ;\-0.0\ ">
                  <c:v>122.88531520966308</c:v>
                </c:pt>
                <c:pt idx="82" formatCode="0.0_ ;\-0.0\ ">
                  <c:v>115.72161861835411</c:v>
                </c:pt>
                <c:pt idx="83" formatCode="0.0_ ;\-0.0\ ">
                  <c:v>118.20671136371811</c:v>
                </c:pt>
                <c:pt idx="84" formatCode="0.0_ ;\-0.0\ ">
                  <c:v>90.892571349466834</c:v>
                </c:pt>
                <c:pt idx="85" formatCode="0.0_ ;\-0.0\ ">
                  <c:v>131.22131341184468</c:v>
                </c:pt>
                <c:pt idx="86" formatCode="0.0_ ;\-0.0\ ">
                  <c:v>60.708312639160795</c:v>
                </c:pt>
                <c:pt idx="87" formatCode="0.0_ ;\-0.0\ ">
                  <c:v>121.86166036239092</c:v>
                </c:pt>
                <c:pt idx="88" formatCode="0.0_ ;\-0.0\ ">
                  <c:v>171.40251935451533</c:v>
                </c:pt>
                <c:pt idx="89" formatCode="0.0_ ;\-0.0\ ">
                  <c:v>134.07996073617051</c:v>
                </c:pt>
                <c:pt idx="90" formatCode="0.0_ ;\-0.0\ ">
                  <c:v>166.77589632198396</c:v>
                </c:pt>
                <c:pt idx="91" formatCode="0.0_ ;\-0.0\ ">
                  <c:v>99.817231068957881</c:v>
                </c:pt>
                <c:pt idx="92" formatCode="0.0_ ;\-0.0\ ">
                  <c:v>94.473569042127565</c:v>
                </c:pt>
                <c:pt idx="93" formatCode="0.0_ ;\-0.0\ ">
                  <c:v>20.166660959461296</c:v>
                </c:pt>
                <c:pt idx="94" formatCode="0.0_ ;\-0.0\ ">
                  <c:v>81.635688681338252</c:v>
                </c:pt>
                <c:pt idx="95" formatCode="0.0_ ;\-0.0\ ">
                  <c:v>95.205816501706977</c:v>
                </c:pt>
                <c:pt idx="96" formatCode="0.0_ ;\-0.0\ ">
                  <c:v>84.900743751863956</c:v>
                </c:pt>
                <c:pt idx="97" formatCode="0.0_ ;\-0.0\ ">
                  <c:v>176.23063121305449</c:v>
                </c:pt>
                <c:pt idx="98" formatCode="0.0_ ;\-0.0\ ">
                  <c:v>95.754559614361369</c:v>
                </c:pt>
                <c:pt idx="99" formatCode="0.0_ ;\-0.0\ ">
                  <c:v>154.54715270753013</c:v>
                </c:pt>
                <c:pt idx="100" formatCode="0.0_ ;\-0.0\ ">
                  <c:v>130.62957374912367</c:v>
                </c:pt>
                <c:pt idx="101" formatCode="0.0_ ;\-0.0\ ">
                  <c:v>57.704296418364265</c:v>
                </c:pt>
                <c:pt idx="102" formatCode="0.0_ ;\-0.0\ ">
                  <c:v>105.2882211154315</c:v>
                </c:pt>
                <c:pt idx="103" formatCode="0.0_ ;\-0.0\ ">
                  <c:v>-83.263045479386165</c:v>
                </c:pt>
                <c:pt idx="104" formatCode="0.0_ ;\-0.0\ ">
                  <c:v>-3.8432674498553752</c:v>
                </c:pt>
                <c:pt idx="105" formatCode="0.0_ ;\-0.0\ ">
                  <c:v>127.0926335726308</c:v>
                </c:pt>
                <c:pt idx="106" formatCode="0.0_ ;\-0.0\ ">
                  <c:v>93.223249877725266</c:v>
                </c:pt>
                <c:pt idx="107" formatCode="0.0_ ;\-0.0\ ">
                  <c:v>216.5401866820639</c:v>
                </c:pt>
                <c:pt idx="108" formatCode="0.0_ ;\-0.0\ ">
                  <c:v>162.44646163128482</c:v>
                </c:pt>
                <c:pt idx="109" formatCode="0.0_ ;\-0.0\ ">
                  <c:v>129.898574744494</c:v>
                </c:pt>
                <c:pt idx="110" formatCode="0.0_ ;\-0.0\ ">
                  <c:v>181.5891512339017</c:v>
                </c:pt>
                <c:pt idx="111" formatCode="0.0_ ;\-0.0\ ">
                  <c:v>216.29962979608899</c:v>
                </c:pt>
                <c:pt idx="112" formatCode="0.0_ ;\-0.0\ ">
                  <c:v>237.24886244732716</c:v>
                </c:pt>
                <c:pt idx="113" formatCode="0.0_ ;\-0.0\ ">
                  <c:v>198.52630336914717</c:v>
                </c:pt>
                <c:pt idx="114" formatCode="0.0_ ;\-0.0\ ">
                  <c:v>291.28322001467905</c:v>
                </c:pt>
                <c:pt idx="115" formatCode="0.0_ ;\-0.0\ ">
                  <c:v>294.44342012475772</c:v>
                </c:pt>
                <c:pt idx="116" formatCode="0.0_ ;\-0.0\ ">
                  <c:v>308.4564306996449</c:v>
                </c:pt>
                <c:pt idx="117" formatCode="0.0_ ;\-0.0\ ">
                  <c:v>306.74740192169338</c:v>
                </c:pt>
                <c:pt idx="118" formatCode="0.0_ ;\-0.0\ ">
                  <c:v>295.82696595427115</c:v>
                </c:pt>
                <c:pt idx="119" formatCode="0.0_ ;\-0.0\ ">
                  <c:v>278.6774826637029</c:v>
                </c:pt>
              </c:numCache>
            </c:numRef>
          </c:val>
          <c:extLst>
            <c:ext xmlns:c16="http://schemas.microsoft.com/office/drawing/2014/chart" uri="{C3380CC4-5D6E-409C-BE32-E72D297353CC}">
              <c16:uniqueId val="{00000001-0D4E-48B4-886B-F22B96686E90}"/>
            </c:ext>
          </c:extLst>
        </c:ser>
        <c:dLbls>
          <c:showLegendKey val="0"/>
          <c:showVal val="0"/>
          <c:showCatName val="0"/>
          <c:showSerName val="0"/>
          <c:showPercent val="0"/>
          <c:showBubbleSize val="0"/>
        </c:dLbls>
        <c:gapWidth val="0"/>
        <c:overlap val="100"/>
        <c:axId val="2088822591"/>
        <c:axId val="2088807711"/>
      </c:barChart>
      <c:lineChart>
        <c:grouping val="standard"/>
        <c:varyColors val="0"/>
        <c:ser>
          <c:idx val="2"/>
          <c:order val="2"/>
          <c:tx>
            <c:strRef>
              <c:f>Sheet4!$AB$10</c:f>
              <c:strCache>
                <c:ptCount val="1"/>
                <c:pt idx="0">
                  <c:v>Total</c:v>
                </c:pt>
              </c:strCache>
            </c:strRef>
          </c:tx>
          <c:spPr>
            <a:ln w="28575" cap="rnd">
              <a:solidFill>
                <a:schemeClr val="accent3"/>
              </a:solidFill>
              <a:round/>
            </a:ln>
            <a:effectLst/>
          </c:spPr>
          <c:marker>
            <c:symbol val="none"/>
          </c:marker>
          <c:cat>
            <c:numRef>
              <c:f>Sheet4!$Y$11:$Y$130</c:f>
              <c:numCache>
                <c:formatCode>mmm\-yyyy</c:formatCode>
                <c:ptCount val="120"/>
                <c:pt idx="0">
                  <c:v>34578</c:v>
                </c:pt>
                <c:pt idx="1">
                  <c:v>34669</c:v>
                </c:pt>
                <c:pt idx="2">
                  <c:v>34759</c:v>
                </c:pt>
                <c:pt idx="3">
                  <c:v>34851</c:v>
                </c:pt>
                <c:pt idx="4">
                  <c:v>34943</c:v>
                </c:pt>
                <c:pt idx="5">
                  <c:v>35034</c:v>
                </c:pt>
                <c:pt idx="6">
                  <c:v>35125</c:v>
                </c:pt>
                <c:pt idx="7">
                  <c:v>35217</c:v>
                </c:pt>
                <c:pt idx="8">
                  <c:v>35309</c:v>
                </c:pt>
                <c:pt idx="9">
                  <c:v>35400</c:v>
                </c:pt>
                <c:pt idx="10">
                  <c:v>35490</c:v>
                </c:pt>
                <c:pt idx="11">
                  <c:v>35582</c:v>
                </c:pt>
                <c:pt idx="12">
                  <c:v>35674</c:v>
                </c:pt>
                <c:pt idx="13">
                  <c:v>35765</c:v>
                </c:pt>
                <c:pt idx="14">
                  <c:v>35855</c:v>
                </c:pt>
                <c:pt idx="15">
                  <c:v>35947</c:v>
                </c:pt>
                <c:pt idx="16">
                  <c:v>36039</c:v>
                </c:pt>
                <c:pt idx="17">
                  <c:v>36130</c:v>
                </c:pt>
                <c:pt idx="18">
                  <c:v>36220</c:v>
                </c:pt>
                <c:pt idx="19">
                  <c:v>36312</c:v>
                </c:pt>
                <c:pt idx="20">
                  <c:v>36404</c:v>
                </c:pt>
                <c:pt idx="21">
                  <c:v>36495</c:v>
                </c:pt>
                <c:pt idx="22">
                  <c:v>36586</c:v>
                </c:pt>
                <c:pt idx="23">
                  <c:v>36678</c:v>
                </c:pt>
                <c:pt idx="24">
                  <c:v>36770</c:v>
                </c:pt>
                <c:pt idx="25">
                  <c:v>36861</c:v>
                </c:pt>
                <c:pt idx="26">
                  <c:v>36951</c:v>
                </c:pt>
                <c:pt idx="27">
                  <c:v>37043</c:v>
                </c:pt>
                <c:pt idx="28">
                  <c:v>37135</c:v>
                </c:pt>
                <c:pt idx="29">
                  <c:v>37226</c:v>
                </c:pt>
                <c:pt idx="30">
                  <c:v>37316</c:v>
                </c:pt>
                <c:pt idx="31">
                  <c:v>37408</c:v>
                </c:pt>
                <c:pt idx="32">
                  <c:v>37500</c:v>
                </c:pt>
                <c:pt idx="33">
                  <c:v>37591</c:v>
                </c:pt>
                <c:pt idx="34">
                  <c:v>37681</c:v>
                </c:pt>
                <c:pt idx="35">
                  <c:v>37773</c:v>
                </c:pt>
                <c:pt idx="36">
                  <c:v>37865</c:v>
                </c:pt>
                <c:pt idx="37">
                  <c:v>37956</c:v>
                </c:pt>
                <c:pt idx="38">
                  <c:v>38047</c:v>
                </c:pt>
                <c:pt idx="39">
                  <c:v>38139</c:v>
                </c:pt>
                <c:pt idx="40">
                  <c:v>38231</c:v>
                </c:pt>
                <c:pt idx="41">
                  <c:v>38322</c:v>
                </c:pt>
                <c:pt idx="42">
                  <c:v>38412</c:v>
                </c:pt>
                <c:pt idx="43">
                  <c:v>38504</c:v>
                </c:pt>
                <c:pt idx="44">
                  <c:v>38596</c:v>
                </c:pt>
                <c:pt idx="45">
                  <c:v>38687</c:v>
                </c:pt>
                <c:pt idx="46">
                  <c:v>38777</c:v>
                </c:pt>
                <c:pt idx="47">
                  <c:v>38869</c:v>
                </c:pt>
                <c:pt idx="48">
                  <c:v>38961</c:v>
                </c:pt>
                <c:pt idx="49">
                  <c:v>39052</c:v>
                </c:pt>
                <c:pt idx="50">
                  <c:v>39142</c:v>
                </c:pt>
                <c:pt idx="51">
                  <c:v>39234</c:v>
                </c:pt>
                <c:pt idx="52">
                  <c:v>39326</c:v>
                </c:pt>
                <c:pt idx="53">
                  <c:v>39417</c:v>
                </c:pt>
                <c:pt idx="54">
                  <c:v>39508</c:v>
                </c:pt>
                <c:pt idx="55">
                  <c:v>39600</c:v>
                </c:pt>
                <c:pt idx="56">
                  <c:v>39692</c:v>
                </c:pt>
                <c:pt idx="57">
                  <c:v>39783</c:v>
                </c:pt>
                <c:pt idx="58">
                  <c:v>39873</c:v>
                </c:pt>
                <c:pt idx="59">
                  <c:v>39965</c:v>
                </c:pt>
                <c:pt idx="60">
                  <c:v>40057</c:v>
                </c:pt>
                <c:pt idx="61">
                  <c:v>40148</c:v>
                </c:pt>
                <c:pt idx="62">
                  <c:v>40238</c:v>
                </c:pt>
                <c:pt idx="63">
                  <c:v>40330</c:v>
                </c:pt>
                <c:pt idx="64">
                  <c:v>40422</c:v>
                </c:pt>
                <c:pt idx="65">
                  <c:v>40513</c:v>
                </c:pt>
                <c:pt idx="66">
                  <c:v>40603</c:v>
                </c:pt>
                <c:pt idx="67">
                  <c:v>40695</c:v>
                </c:pt>
                <c:pt idx="68">
                  <c:v>40787</c:v>
                </c:pt>
                <c:pt idx="69">
                  <c:v>40878</c:v>
                </c:pt>
                <c:pt idx="70">
                  <c:v>40969</c:v>
                </c:pt>
                <c:pt idx="71">
                  <c:v>41061</c:v>
                </c:pt>
                <c:pt idx="72">
                  <c:v>41153</c:v>
                </c:pt>
                <c:pt idx="73">
                  <c:v>41244</c:v>
                </c:pt>
                <c:pt idx="74">
                  <c:v>41334</c:v>
                </c:pt>
                <c:pt idx="75">
                  <c:v>41426</c:v>
                </c:pt>
                <c:pt idx="76">
                  <c:v>41518</c:v>
                </c:pt>
                <c:pt idx="77">
                  <c:v>41609</c:v>
                </c:pt>
                <c:pt idx="78">
                  <c:v>41699</c:v>
                </c:pt>
                <c:pt idx="79">
                  <c:v>41791</c:v>
                </c:pt>
                <c:pt idx="80">
                  <c:v>41883</c:v>
                </c:pt>
                <c:pt idx="81">
                  <c:v>41974</c:v>
                </c:pt>
                <c:pt idx="82">
                  <c:v>42064</c:v>
                </c:pt>
                <c:pt idx="83">
                  <c:v>42156</c:v>
                </c:pt>
                <c:pt idx="84">
                  <c:v>42248</c:v>
                </c:pt>
                <c:pt idx="85">
                  <c:v>42339</c:v>
                </c:pt>
                <c:pt idx="86">
                  <c:v>42430</c:v>
                </c:pt>
                <c:pt idx="87">
                  <c:v>42522</c:v>
                </c:pt>
                <c:pt idx="88">
                  <c:v>42614</c:v>
                </c:pt>
                <c:pt idx="89">
                  <c:v>42705</c:v>
                </c:pt>
                <c:pt idx="90">
                  <c:v>42795</c:v>
                </c:pt>
                <c:pt idx="91">
                  <c:v>42887</c:v>
                </c:pt>
                <c:pt idx="92">
                  <c:v>42979</c:v>
                </c:pt>
                <c:pt idx="93">
                  <c:v>43070</c:v>
                </c:pt>
                <c:pt idx="94">
                  <c:v>43160</c:v>
                </c:pt>
                <c:pt idx="95">
                  <c:v>43252</c:v>
                </c:pt>
                <c:pt idx="96">
                  <c:v>43344</c:v>
                </c:pt>
                <c:pt idx="97">
                  <c:v>43435</c:v>
                </c:pt>
                <c:pt idx="98">
                  <c:v>43525</c:v>
                </c:pt>
                <c:pt idx="99">
                  <c:v>43617</c:v>
                </c:pt>
                <c:pt idx="100">
                  <c:v>43709</c:v>
                </c:pt>
                <c:pt idx="101">
                  <c:v>43800</c:v>
                </c:pt>
                <c:pt idx="102">
                  <c:v>43891</c:v>
                </c:pt>
                <c:pt idx="103">
                  <c:v>43983</c:v>
                </c:pt>
                <c:pt idx="104">
                  <c:v>44075</c:v>
                </c:pt>
                <c:pt idx="105">
                  <c:v>44166</c:v>
                </c:pt>
                <c:pt idx="106">
                  <c:v>44256</c:v>
                </c:pt>
                <c:pt idx="107">
                  <c:v>44348</c:v>
                </c:pt>
                <c:pt idx="108">
                  <c:v>44440</c:v>
                </c:pt>
                <c:pt idx="109">
                  <c:v>44531</c:v>
                </c:pt>
                <c:pt idx="110">
                  <c:v>44621</c:v>
                </c:pt>
                <c:pt idx="111">
                  <c:v>44713</c:v>
                </c:pt>
                <c:pt idx="112">
                  <c:v>44805</c:v>
                </c:pt>
                <c:pt idx="113">
                  <c:v>44896</c:v>
                </c:pt>
                <c:pt idx="114">
                  <c:v>44986</c:v>
                </c:pt>
                <c:pt idx="115">
                  <c:v>45078</c:v>
                </c:pt>
                <c:pt idx="116">
                  <c:v>45170</c:v>
                </c:pt>
                <c:pt idx="117">
                  <c:v>45261</c:v>
                </c:pt>
                <c:pt idx="118">
                  <c:v>45352</c:v>
                </c:pt>
                <c:pt idx="119">
                  <c:v>45444</c:v>
                </c:pt>
              </c:numCache>
            </c:numRef>
          </c:cat>
          <c:val>
            <c:numRef>
              <c:f>Sheet4!$AB$11:$AB$130</c:f>
              <c:numCache>
                <c:formatCode>General</c:formatCode>
                <c:ptCount val="120"/>
                <c:pt idx="4" formatCode="0.0_ ;\-0.0\ ">
                  <c:v>238.74618911033008</c:v>
                </c:pt>
                <c:pt idx="5" formatCode="0.0_ ;\-0.0\ ">
                  <c:v>224.84588141757058</c:v>
                </c:pt>
                <c:pt idx="6" formatCode="0.0_ ;\-0.0\ ">
                  <c:v>179.06819879967065</c:v>
                </c:pt>
                <c:pt idx="7" formatCode="0.0_ ;\-0.0\ ">
                  <c:v>120.30320352765034</c:v>
                </c:pt>
                <c:pt idx="8" formatCode="0.0_ ;\-0.0\ ">
                  <c:v>83.966686475348979</c:v>
                </c:pt>
                <c:pt idx="9" formatCode="0.0_ ;\-0.0\ ">
                  <c:v>52.0503095642689</c:v>
                </c:pt>
                <c:pt idx="10" formatCode="0.0_ ;\-0.0\ ">
                  <c:v>61.157849569261089</c:v>
                </c:pt>
                <c:pt idx="11" formatCode="0.0_ ;\-0.0\ ">
                  <c:v>-2.5633611165399088</c:v>
                </c:pt>
                <c:pt idx="12" formatCode="0.0_ ;\-0.0\ ">
                  <c:v>92.144946988289803</c:v>
                </c:pt>
                <c:pt idx="13" formatCode="0.0_ ;\-0.0\ ">
                  <c:v>126.99240192984144</c:v>
                </c:pt>
                <c:pt idx="14" formatCode="0.0_ ;\-0.0\ ">
                  <c:v>105.92949741648977</c:v>
                </c:pt>
                <c:pt idx="15" formatCode="0.0_ ;\-0.0\ ">
                  <c:v>203.4602113804599</c:v>
                </c:pt>
                <c:pt idx="16" formatCode="0.0_ ;\-0.0\ ">
                  <c:v>188.25757754367123</c:v>
                </c:pt>
                <c:pt idx="17" formatCode="0.0_ ;\-0.0\ ">
                  <c:v>122.71420476845037</c:v>
                </c:pt>
                <c:pt idx="18" formatCode="0.0_ ;\-0.0\ ">
                  <c:v>172.21636717443948</c:v>
                </c:pt>
                <c:pt idx="19" formatCode="0.0_ ;\-0.0\ ">
                  <c:v>141.66229802652015</c:v>
                </c:pt>
                <c:pt idx="20" formatCode="0.0_ ;\-0.0\ ">
                  <c:v>102.25007871161824</c:v>
                </c:pt>
                <c:pt idx="21" formatCode="0.0_ ;\-0.0\ ">
                  <c:v>213.66529755302849</c:v>
                </c:pt>
                <c:pt idx="22" formatCode="0.0_ ;\-0.0\ ">
                  <c:v>212.89621880491018</c:v>
                </c:pt>
                <c:pt idx="23" formatCode="0.0_ ;\-0.0\ ">
                  <c:v>262.33937335393057</c:v>
                </c:pt>
                <c:pt idx="24" formatCode="0.0_ ;\-0.0\ ">
                  <c:v>316.65042628084211</c:v>
                </c:pt>
                <c:pt idx="25" formatCode="0.0_ ;\-0.0\ ">
                  <c:v>173.04027822423996</c:v>
                </c:pt>
                <c:pt idx="26" formatCode="0.0_ ;\-0.0\ ">
                  <c:v>136.62268580789896</c:v>
                </c:pt>
                <c:pt idx="27" formatCode="0.0_ ;\-0.0\ ">
                  <c:v>115.82230310569003</c:v>
                </c:pt>
                <c:pt idx="28" formatCode="0.0_ ;\-0.0\ ">
                  <c:v>42.868877001018973</c:v>
                </c:pt>
                <c:pt idx="29" formatCode="0.0_ ;\-0.0\ ">
                  <c:v>116.02343148706132</c:v>
                </c:pt>
                <c:pt idx="30" formatCode="0.0_ ;\-0.0\ ">
                  <c:v>149.53881504127094</c:v>
                </c:pt>
                <c:pt idx="31" formatCode="0.0_ ;\-0.0\ ">
                  <c:v>143.68121990707004</c:v>
                </c:pt>
                <c:pt idx="32" formatCode="0.0_ ;\-0.0\ ">
                  <c:v>192.61016100213055</c:v>
                </c:pt>
                <c:pt idx="33" formatCode="0.0_ ;\-0.0\ ">
                  <c:v>271.53959328543942</c:v>
                </c:pt>
                <c:pt idx="34" formatCode="0.0_ ;\-0.0\ ">
                  <c:v>236.91726050877014</c:v>
                </c:pt>
                <c:pt idx="35" formatCode="0.0_ ;\-0.0\ ">
                  <c:v>190.93585276251861</c:v>
                </c:pt>
                <c:pt idx="36" formatCode="0.0_ ;\-0.0\ ">
                  <c:v>196.2305946246488</c:v>
                </c:pt>
                <c:pt idx="37" formatCode="0.0_ ;\-0.0\ ">
                  <c:v>158.08738836732982</c:v>
                </c:pt>
                <c:pt idx="38" formatCode="0.0_ ;\-0.0\ ">
                  <c:v>165.99611312758998</c:v>
                </c:pt>
                <c:pt idx="39" formatCode="0.0_ ;\-0.0\ ">
                  <c:v>205.13605604666009</c:v>
                </c:pt>
                <c:pt idx="40" formatCode="0.0_ ;\-0.0\ ">
                  <c:v>194.25277011532125</c:v>
                </c:pt>
                <c:pt idx="41" formatCode="0.0_ ;\-0.0\ ">
                  <c:v>228.26957815830974</c:v>
                </c:pt>
                <c:pt idx="42" formatCode="0.0_ ;\-0.0\ ">
                  <c:v>324.57066404249099</c:v>
                </c:pt>
                <c:pt idx="43" formatCode="0.0_ ;\-0.0\ ">
                  <c:v>356.5722053988211</c:v>
                </c:pt>
                <c:pt idx="44" formatCode="0.0_ ;\-0.0\ ">
                  <c:v>337.4806943344106</c:v>
                </c:pt>
                <c:pt idx="45" formatCode="0.0_ ;\-0.0\ ">
                  <c:v>235.60498115453083</c:v>
                </c:pt>
                <c:pt idx="46" formatCode="0.0_ ;\-0.0\ ">
                  <c:v>201.49565184779885</c:v>
                </c:pt>
                <c:pt idx="47" formatCode="0.0_ ;\-0.0\ ">
                  <c:v>236.46692533379928</c:v>
                </c:pt>
                <c:pt idx="48" formatCode="0.0_ ;\-0.0\ ">
                  <c:v>313.94334341379863</c:v>
                </c:pt>
                <c:pt idx="49" formatCode="0.0_ ;\-0.0\ ">
                  <c:v>353.87109456359985</c:v>
                </c:pt>
                <c:pt idx="50" formatCode="0.0_ ;\-0.0\ ">
                  <c:v>321.94011718060028</c:v>
                </c:pt>
                <c:pt idx="51" formatCode="0.0_ ;\-0.0\ ">
                  <c:v>305.5557711744018</c:v>
                </c:pt>
                <c:pt idx="52" formatCode="0.0_ ;\-0.0\ ">
                  <c:v>260.54954790019929</c:v>
                </c:pt>
                <c:pt idx="53" formatCode="0.0_ ;\-0.0\ ">
                  <c:v>313.39910254389861</c:v>
                </c:pt>
                <c:pt idx="54" formatCode="0.0_ ;\-0.0\ ">
                  <c:v>340.83279478110035</c:v>
                </c:pt>
                <c:pt idx="55" formatCode="0.0_ ;\-0.0\ ">
                  <c:v>314.63677875699841</c:v>
                </c:pt>
                <c:pt idx="56" formatCode="0.0_ ;\-0.0\ ">
                  <c:v>268.37040261240145</c:v>
                </c:pt>
                <c:pt idx="57" formatCode="0.0_ ;\-0.0\ ">
                  <c:v>197.17167226790025</c:v>
                </c:pt>
                <c:pt idx="58" formatCode="0.0_ ;\-0.0\ ">
                  <c:v>95.642618083899379</c:v>
                </c:pt>
                <c:pt idx="59" formatCode="0.0_ ;\-0.0\ ">
                  <c:v>16.493448322598852</c:v>
                </c:pt>
                <c:pt idx="60" formatCode="0.0_ ;\-0.0\ ">
                  <c:v>13.762095105998924</c:v>
                </c:pt>
                <c:pt idx="61" formatCode="0.0_ ;\-0.0\ ">
                  <c:v>89.971263478999845</c:v>
                </c:pt>
                <c:pt idx="62" formatCode="0.0_ ;\-0.0\ ">
                  <c:v>134.1800500534996</c:v>
                </c:pt>
                <c:pt idx="63" formatCode="0.0_ ;\-0.0\ ">
                  <c:v>232.52139802460169</c:v>
                </c:pt>
                <c:pt idx="64" formatCode="0.0_ ;\-0.0\ ">
                  <c:v>289.06640443380093</c:v>
                </c:pt>
                <c:pt idx="65" formatCode="0.0_ ;\-0.0\ ">
                  <c:v>277.97624651839942</c:v>
                </c:pt>
                <c:pt idx="66" formatCode="0.0_ ;\-0.0\ ">
                  <c:v>283.17117230380018</c:v>
                </c:pt>
                <c:pt idx="67" formatCode="0.0_ ;\-0.0\ ">
                  <c:v>206.03092757050035</c:v>
                </c:pt>
                <c:pt idx="68" formatCode="0.0_ ;\-0.0\ ">
                  <c:v>182.86208189940044</c:v>
                </c:pt>
                <c:pt idx="69" formatCode="0.0_ ;\-0.0\ ">
                  <c:v>71.988615204300004</c:v>
                </c:pt>
                <c:pt idx="70" formatCode="0.0_ ;\-0.0\ ">
                  <c:v>122.60196755140032</c:v>
                </c:pt>
                <c:pt idx="71" formatCode="0.0_ ;\-0.0\ ">
                  <c:v>152.17039750199865</c:v>
                </c:pt>
                <c:pt idx="72" formatCode="0.0_ ;\-0.0\ ">
                  <c:v>147.18456641350076</c:v>
                </c:pt>
                <c:pt idx="73" formatCode="0.0_ ;\-0.0\ ">
                  <c:v>188.9823086776014</c:v>
                </c:pt>
                <c:pt idx="74" formatCode="0.0_ ;\-0.0\ ">
                  <c:v>109.31527369819923</c:v>
                </c:pt>
                <c:pt idx="75" formatCode="0.0_ ;\-0.0\ ">
                  <c:v>117.43113657800177</c:v>
                </c:pt>
                <c:pt idx="76" formatCode="0.0_ ;\-0.0\ ">
                  <c:v>78.392530803598675</c:v>
                </c:pt>
                <c:pt idx="77" formatCode="0.0_ ;\-0.0\ ">
                  <c:v>-27.30474954570127</c:v>
                </c:pt>
                <c:pt idx="78" formatCode="0.0_ ;\-0.0\ ">
                  <c:v>82.45941634519977</c:v>
                </c:pt>
                <c:pt idx="79" formatCode="0.0_ ;\-0.0\ ">
                  <c:v>61.050825073998567</c:v>
                </c:pt>
                <c:pt idx="80" formatCode="0.0_ ;\-0.0\ ">
                  <c:v>16.972018678899985</c:v>
                </c:pt>
                <c:pt idx="81" formatCode="0.0_ ;\-0.0\ ">
                  <c:v>197.49679591800259</c:v>
                </c:pt>
                <c:pt idx="82" formatCode="0.0_ ;\-0.0\ ">
                  <c:v>168.53020990600089</c:v>
                </c:pt>
                <c:pt idx="83" formatCode="0.0_ ;\-0.0\ ">
                  <c:v>194.65870365289948</c:v>
                </c:pt>
                <c:pt idx="84" formatCode="0.0_ ;\-0.0\ ">
                  <c:v>268.05902646190088</c:v>
                </c:pt>
                <c:pt idx="85" formatCode="0.0_ ;\-0.0\ ">
                  <c:v>294.72539941469768</c:v>
                </c:pt>
                <c:pt idx="86" formatCode="0.0_ ;\-0.0\ ">
                  <c:v>233.31829155969899</c:v>
                </c:pt>
                <c:pt idx="87" formatCode="0.0_ ;\-0.0\ ">
                  <c:v>219.95362706470087</c:v>
                </c:pt>
                <c:pt idx="88" formatCode="0.0_ ;\-0.0\ ">
                  <c:v>160.7940933281975</c:v>
                </c:pt>
                <c:pt idx="89" formatCode="0.0_ ;\-0.0\ ">
                  <c:v>131.6102821903014</c:v>
                </c:pt>
                <c:pt idx="90" formatCode="0.0_ ;\-0.0\ ">
                  <c:v>150.15347248289982</c:v>
                </c:pt>
                <c:pt idx="91" formatCode="0.0_ ;\-0.0\ ">
                  <c:v>225.24194140559939</c:v>
                </c:pt>
                <c:pt idx="92" formatCode="0.0_ ;\-0.0\ ">
                  <c:v>379.80747582630102</c:v>
                </c:pt>
                <c:pt idx="93" formatCode="0.0_ ;\-0.0\ ">
                  <c:v>337.6951792227992</c:v>
                </c:pt>
                <c:pt idx="94" formatCode="0.0_ ;\-0.0\ ">
                  <c:v>381.76497021710111</c:v>
                </c:pt>
                <c:pt idx="95" formatCode="0.0_ ;\-0.0\ ">
                  <c:v>364.03741025060026</c:v>
                </c:pt>
                <c:pt idx="96" formatCode="0.0_ ;\-0.0\ ">
                  <c:v>287.65460865529985</c:v>
                </c:pt>
                <c:pt idx="97" formatCode="0.0_ ;\-0.0\ ">
                  <c:v>311.17816401019945</c:v>
                </c:pt>
                <c:pt idx="98" formatCode="0.0_ ;\-0.0\ ">
                  <c:v>307.37430494709815</c:v>
                </c:pt>
                <c:pt idx="99" formatCode="0.0_ ;\-0.0\ ">
                  <c:v>262.52757937040087</c:v>
                </c:pt>
                <c:pt idx="100" formatCode="0.0_ ;\-0.0\ ">
                  <c:v>296.5556469277999</c:v>
                </c:pt>
                <c:pt idx="101" formatCode="0.0_ ;\-0.0\ ">
                  <c:v>263.69263721140169</c:v>
                </c:pt>
                <c:pt idx="102" formatCode="0.0_ ;\-0.0\ ">
                  <c:v>132.3592636276021</c:v>
                </c:pt>
                <c:pt idx="103" formatCode="0.0_ ;\-0.0\ ">
                  <c:v>-591.39483836690033</c:v>
                </c:pt>
                <c:pt idx="104" formatCode="0.0_ ;\-0.0\ ">
                  <c:v>-445.15583207500003</c:v>
                </c:pt>
                <c:pt idx="105" formatCode="0.0_ ;\-0.0\ ">
                  <c:v>-160.08085138739989</c:v>
                </c:pt>
                <c:pt idx="106" formatCode="0.0_ ;\-0.0\ ">
                  <c:v>9.5005896219013266</c:v>
                </c:pt>
                <c:pt idx="107" formatCode="0.0_ ;\-0.0\ ">
                  <c:v>800.64026208659834</c:v>
                </c:pt>
                <c:pt idx="108" formatCode="0.0_ ;\-0.0\ ">
                  <c:v>277.28606116110086</c:v>
                </c:pt>
                <c:pt idx="109" formatCode="0.0_ ;\-0.0\ ">
                  <c:v>477.33469249529753</c:v>
                </c:pt>
                <c:pt idx="110" formatCode="0.0_ ;\-0.0\ ">
                  <c:v>467.79834816659923</c:v>
                </c:pt>
                <c:pt idx="111" formatCode="0.0_ ;\-0.0\ ">
                  <c:v>568.3542105751003</c:v>
                </c:pt>
                <c:pt idx="112" formatCode="0.0_ ;\-0.0\ ">
                  <c:v>932.29470528719958</c:v>
                </c:pt>
                <c:pt idx="113" formatCode="0.0_ ;\-0.0\ ">
                  <c:v>598.1631285730009</c:v>
                </c:pt>
                <c:pt idx="114" formatCode="0.0_ ;\-0.0\ ">
                  <c:v>610.44144134319731</c:v>
                </c:pt>
                <c:pt idx="115" formatCode="0.0_ ;\-0.0\ ">
                  <c:v>469.30828366530022</c:v>
                </c:pt>
                <c:pt idx="116" formatCode="0.0_ ;\-0.0\ ">
                  <c:v>457.0311802620995</c:v>
                </c:pt>
                <c:pt idx="117" formatCode="0.0_ ;\-0.0\ ">
                  <c:v>349.61888477909997</c:v>
                </c:pt>
                <c:pt idx="118" formatCode="0.0_ ;\-0.0\ ">
                  <c:v>336.30622432360178</c:v>
                </c:pt>
                <c:pt idx="119" formatCode="0.0_ ;\-0.0\ ">
                  <c:v>380.69603378060128</c:v>
                </c:pt>
              </c:numCache>
            </c:numRef>
          </c:val>
          <c:smooth val="0"/>
          <c:extLst>
            <c:ext xmlns:c16="http://schemas.microsoft.com/office/drawing/2014/chart" uri="{C3380CC4-5D6E-409C-BE32-E72D297353CC}">
              <c16:uniqueId val="{00000002-0D4E-48B4-886B-F22B96686E90}"/>
            </c:ext>
          </c:extLst>
        </c:ser>
        <c:dLbls>
          <c:showLegendKey val="0"/>
          <c:showVal val="0"/>
          <c:showCatName val="0"/>
          <c:showSerName val="0"/>
          <c:showPercent val="0"/>
          <c:showBubbleSize val="0"/>
        </c:dLbls>
        <c:marker val="1"/>
        <c:smooth val="0"/>
        <c:axId val="2088822591"/>
        <c:axId val="2088807711"/>
      </c:lineChart>
      <c:dateAx>
        <c:axId val="2088822591"/>
        <c:scaling>
          <c:orientation val="minMax"/>
          <c:min val="41791"/>
        </c:scaling>
        <c:delete val="0"/>
        <c:axPos val="b"/>
        <c:numFmt formatCode="mmm\-yyyy" sourceLinked="1"/>
        <c:majorTickMark val="out"/>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2088807711"/>
        <c:crosses val="autoZero"/>
        <c:auto val="1"/>
        <c:lblOffset val="100"/>
        <c:baseTimeUnit val="months"/>
        <c:majorUnit val="24"/>
        <c:majorTimeUnit val="months"/>
      </c:dateAx>
      <c:valAx>
        <c:axId val="2088807711"/>
        <c:scaling>
          <c:orientation val="minMax"/>
        </c:scaling>
        <c:delete val="0"/>
        <c:axPos val="l"/>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208882259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65878</cdr:x>
      <cdr:y>0.00498</cdr:y>
    </cdr:from>
    <cdr:to>
      <cdr:x>0.95989</cdr:x>
      <cdr:y>0.81864</cdr:y>
    </cdr:to>
    <cdr:sp macro="" textlink="">
      <cdr:nvSpPr>
        <cdr:cNvPr id="2" name="Rectangle 1"/>
        <cdr:cNvSpPr/>
      </cdr:nvSpPr>
      <cdr:spPr>
        <a:xfrm xmlns:a="http://schemas.openxmlformats.org/drawingml/2006/main">
          <a:off x="5614147" y="15570"/>
          <a:ext cx="2566107" cy="2543860"/>
        </a:xfrm>
        <a:prstGeom xmlns:a="http://schemas.openxmlformats.org/drawingml/2006/main" prst="rect">
          <a:avLst/>
        </a:prstGeom>
        <a:solidFill xmlns:a="http://schemas.openxmlformats.org/drawingml/2006/main">
          <a:schemeClr val="accent6">
            <a:alpha val="2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5255</cdr:x>
      <cdr:y>0.49625</cdr:y>
    </cdr:from>
    <cdr:to>
      <cdr:x>0.5255</cdr:x>
      <cdr:y>0.49625</cdr:y>
    </cdr:to>
    <cdr:sp macro="" textlink="">
      <cdr:nvSpPr>
        <cdr:cNvPr id="22533" name="Text Box 5"/>
        <cdr:cNvSpPr txBox="1">
          <a:spLocks xmlns:a="http://schemas.openxmlformats.org/drawingml/2006/main" noChangeArrowheads="1"/>
        </cdr:cNvSpPr>
      </cdr:nvSpPr>
      <cdr:spPr bwMode="auto">
        <a:xfrm xmlns:a="http://schemas.openxmlformats.org/drawingml/2006/main">
          <a:off x="3039780" y="1496187"/>
          <a:ext cx="0" cy="0"/>
        </a:xfrm>
        <a:prstGeom xmlns:a="http://schemas.openxmlformats.org/drawingml/2006/main" prst="rect">
          <a:avLst/>
        </a:prstGeom>
        <a:noFill xmlns:a="http://schemas.openxmlformats.org/drawingml/2006/main"/>
        <a:ln xmlns:a="http://schemas.openxmlformats.org/drawingml/2006/main" w="1">
          <a:noFill/>
          <a:miter lim="800000"/>
          <a:headEnd/>
          <a:tailEnd/>
        </a:ln>
        <a:effectLst xmlns:a="http://schemas.openxmlformats.org/drawingml/2006/main"/>
      </cdr:spPr>
      <cdr:txBody>
        <a:bodyPr xmlns:a="http://schemas.openxmlformats.org/drawingml/2006/main" vertOverflow="clip" wrap="square" lIns="27432" tIns="22860" rIns="0" bIns="0" anchor="t" upright="1"/>
        <a:lstStyle xmlns:a="http://schemas.openxmlformats.org/drawingml/2006/main"/>
        <a:p xmlns:a="http://schemas.openxmlformats.org/drawingml/2006/main">
          <a:pPr algn="l" rtl="0">
            <a:defRPr sz="1000"/>
          </a:pPr>
          <a:r>
            <a:rPr lang="en-AU" sz="950" b="0" i="0" strike="noStrike">
              <a:solidFill>
                <a:srgbClr val="000000"/>
              </a:solidFill>
              <a:latin typeface="Arial"/>
              <a:cs typeface="Arial"/>
            </a:rPr>
            <a:t>Source: ABS 8501.0, Access Economics</a:t>
          </a:r>
        </a:p>
      </cdr:txBody>
    </cdr:sp>
  </cdr:relSizeAnchor>
  <cdr:relSizeAnchor xmlns:cdr="http://schemas.openxmlformats.org/drawingml/2006/chartDrawing">
    <cdr:from>
      <cdr:x>0.69727</cdr:x>
      <cdr:y>0.0224</cdr:y>
    </cdr:from>
    <cdr:to>
      <cdr:x>0.94727</cdr:x>
      <cdr:y>0.11565</cdr:y>
    </cdr:to>
    <cdr:sp macro="" textlink="">
      <cdr:nvSpPr>
        <cdr:cNvPr id="23213" name="Text Box 685"/>
        <cdr:cNvSpPr txBox="1">
          <a:spLocks xmlns:a="http://schemas.openxmlformats.org/drawingml/2006/main" noChangeArrowheads="1"/>
        </cdr:cNvSpPr>
      </cdr:nvSpPr>
      <cdr:spPr bwMode="auto">
        <a:xfrm xmlns:a="http://schemas.openxmlformats.org/drawingml/2006/main">
          <a:off x="2000250" y="49826"/>
          <a:ext cx="717176" cy="207422"/>
        </a:xfrm>
        <a:prstGeom xmlns:a="http://schemas.openxmlformats.org/drawingml/2006/main" prst="rect">
          <a:avLst/>
        </a:prstGeom>
        <a:noFill xmlns:a="http://schemas.openxmlformats.org/drawingml/2006/main"/>
        <a:ln xmlns:a="http://schemas.openxmlformats.org/drawingml/2006/main" w="1">
          <a:noFill/>
          <a:miter lim="800000"/>
          <a:headEnd/>
          <a:tailEnd/>
        </a:ln>
        <a:effectLst xmlns:a="http://schemas.openxmlformats.org/drawingml/2006/main"/>
      </cdr:spPr>
      <cdr:txBody>
        <a:bodyPr xmlns:a="http://schemas.openxmlformats.org/drawingml/2006/main" vertOverflow="clip" wrap="square" lIns="27432" tIns="22860" rIns="27432" bIns="22860" anchor="ctr" upright="1"/>
        <a:lstStyle xmlns:a="http://schemas.openxmlformats.org/drawingml/2006/main"/>
        <a:p xmlns:a="http://schemas.openxmlformats.org/drawingml/2006/main">
          <a:pPr algn="ctr" rtl="0">
            <a:lnSpc>
              <a:spcPts val="1000"/>
            </a:lnSpc>
            <a:defRPr sz="1000"/>
          </a:pPr>
          <a:r>
            <a:rPr lang="en-AU" sz="1050" b="0" i="0" strike="noStrike" dirty="0">
              <a:solidFill>
                <a:srgbClr val="000000"/>
              </a:solidFill>
              <a:latin typeface="Open Sans Light" panose="020B0306030504020204" pitchFamily="34" charset="0"/>
              <a:ea typeface="Open Sans Light" panose="020B0306030504020204" pitchFamily="34" charset="0"/>
              <a:cs typeface="Open Sans Light" panose="020B0306030504020204" pitchFamily="34" charset="0"/>
            </a:rPr>
            <a:t>Forecast</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2945862" cy="495873"/>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3850294" y="1"/>
            <a:ext cx="2945862" cy="495873"/>
          </a:xfrm>
          <a:prstGeom prst="rect">
            <a:avLst/>
          </a:prstGeom>
        </p:spPr>
        <p:txBody>
          <a:bodyPr vert="horz" lIns="90913" tIns="45457" rIns="90913" bIns="45457" rtlCol="0"/>
          <a:lstStyle>
            <a:lvl1pPr algn="r">
              <a:defRPr sz="1100"/>
            </a:lvl1pPr>
          </a:lstStyle>
          <a:p>
            <a:fld id="{B4AD245C-091B-44E2-BFB0-BD94217887F7}" type="datetimeFigureOut">
              <a:rPr lang="en-US">
                <a:latin typeface="Arial" panose="020B0604020202020204" pitchFamily="34" charset="0"/>
              </a:rPr>
              <a:t>11/12/2024</a:t>
            </a:fld>
            <a:endParaRPr lang="en-US">
              <a:latin typeface="Arial" panose="020B0604020202020204" pitchFamily="34" charset="0"/>
            </a:endParaRPr>
          </a:p>
        </p:txBody>
      </p:sp>
      <p:sp>
        <p:nvSpPr>
          <p:cNvPr id="4" name="Footer Placeholder 3"/>
          <p:cNvSpPr>
            <a:spLocks noGrp="1"/>
          </p:cNvSpPr>
          <p:nvPr>
            <p:ph type="ftr" sz="quarter" idx="2"/>
          </p:nvPr>
        </p:nvSpPr>
        <p:spPr>
          <a:xfrm>
            <a:off x="4" y="9430814"/>
            <a:ext cx="2945862" cy="495873"/>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3850294" y="9430814"/>
            <a:ext cx="2945862" cy="495873"/>
          </a:xfrm>
          <a:prstGeom prst="rect">
            <a:avLst/>
          </a:prstGeom>
        </p:spPr>
        <p:txBody>
          <a:bodyPr vert="horz" lIns="90913" tIns="45457" rIns="90913" bIns="45457" rtlCol="0" anchor="b"/>
          <a:lstStyle>
            <a:lvl1pPr algn="r">
              <a:defRPr sz="1100"/>
            </a:lvl1pPr>
          </a:lstStyle>
          <a:p>
            <a:fld id="{9A913F39-CFF6-40F1-84D1-700840B41EAB}" type="slidenum">
              <a:rPr lang="en-US">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659" cy="496411"/>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3850445" y="1"/>
            <a:ext cx="2945659" cy="496411"/>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a:pPr/>
              <a:t>11/12/2024</a:t>
            </a:fld>
            <a:endParaRPr lang="en-US"/>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8478" tIns="49238" rIns="98478" bIns="49238" rtlCol="0" anchor="ctr"/>
          <a:lstStyle/>
          <a:p>
            <a:endParaRPr lang="en-GB"/>
          </a:p>
        </p:txBody>
      </p:sp>
      <p:sp>
        <p:nvSpPr>
          <p:cNvPr id="5" name="Notes Placeholder 4"/>
          <p:cNvSpPr>
            <a:spLocks noGrp="1"/>
          </p:cNvSpPr>
          <p:nvPr>
            <p:ph type="body" sz="quarter" idx="3"/>
          </p:nvPr>
        </p:nvSpPr>
        <p:spPr>
          <a:xfrm>
            <a:off x="679768" y="4715908"/>
            <a:ext cx="5438140" cy="4467701"/>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30092"/>
            <a:ext cx="2945659" cy="496411"/>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3850445" y="9430092"/>
            <a:ext cx="2945659" cy="496411"/>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715952" rtl="0" eaLnBrk="1" latinLnBrk="0" hangingPunct="1">
      <a:defRPr sz="939" kern="1200">
        <a:solidFill>
          <a:schemeClr val="tx1"/>
        </a:solidFill>
        <a:latin typeface="Arial" panose="020B0604020202020204" pitchFamily="34" charset="0"/>
        <a:ea typeface="+mn-ea"/>
        <a:cs typeface="+mn-cs"/>
      </a:defRPr>
    </a:lvl1pPr>
    <a:lvl2pPr marL="357977" algn="l" defTabSz="715952" rtl="0" eaLnBrk="1" latinLnBrk="0" hangingPunct="1">
      <a:defRPr sz="939" kern="1200">
        <a:solidFill>
          <a:schemeClr val="tx1"/>
        </a:solidFill>
        <a:latin typeface="Arial" panose="020B0604020202020204" pitchFamily="34" charset="0"/>
        <a:ea typeface="+mn-ea"/>
        <a:cs typeface="+mn-cs"/>
      </a:defRPr>
    </a:lvl2pPr>
    <a:lvl3pPr marL="715952" algn="l" defTabSz="715952" rtl="0" eaLnBrk="1" latinLnBrk="0" hangingPunct="1">
      <a:defRPr sz="939" kern="1200">
        <a:solidFill>
          <a:schemeClr val="tx1"/>
        </a:solidFill>
        <a:latin typeface="Arial" panose="020B0604020202020204" pitchFamily="34" charset="0"/>
        <a:ea typeface="+mn-ea"/>
        <a:cs typeface="+mn-cs"/>
      </a:defRPr>
    </a:lvl3pPr>
    <a:lvl4pPr marL="1073928" algn="l" defTabSz="715952" rtl="0" eaLnBrk="1" latinLnBrk="0" hangingPunct="1">
      <a:defRPr sz="939" kern="1200">
        <a:solidFill>
          <a:schemeClr val="tx1"/>
        </a:solidFill>
        <a:latin typeface="Arial" panose="020B0604020202020204" pitchFamily="34" charset="0"/>
        <a:ea typeface="+mn-ea"/>
        <a:cs typeface="+mn-cs"/>
      </a:defRPr>
    </a:lvl4pPr>
    <a:lvl5pPr marL="1431905" algn="l" defTabSz="715952" rtl="0" eaLnBrk="1" latinLnBrk="0" hangingPunct="1">
      <a:defRPr sz="939" kern="1200">
        <a:solidFill>
          <a:schemeClr val="tx1"/>
        </a:solidFill>
        <a:latin typeface="Arial" panose="020B0604020202020204" pitchFamily="34" charset="0"/>
        <a:ea typeface="+mn-ea"/>
        <a:cs typeface="+mn-cs"/>
      </a:defRPr>
    </a:lvl5pPr>
    <a:lvl6pPr marL="1789881" algn="l" defTabSz="715952" rtl="0" eaLnBrk="1" latinLnBrk="0" hangingPunct="1">
      <a:defRPr sz="939" kern="1200">
        <a:solidFill>
          <a:schemeClr val="tx1"/>
        </a:solidFill>
        <a:latin typeface="+mn-lt"/>
        <a:ea typeface="+mn-ea"/>
        <a:cs typeface="+mn-cs"/>
      </a:defRPr>
    </a:lvl6pPr>
    <a:lvl7pPr marL="2147856" algn="l" defTabSz="715952" rtl="0" eaLnBrk="1" latinLnBrk="0" hangingPunct="1">
      <a:defRPr sz="939" kern="1200">
        <a:solidFill>
          <a:schemeClr val="tx1"/>
        </a:solidFill>
        <a:latin typeface="+mn-lt"/>
        <a:ea typeface="+mn-ea"/>
        <a:cs typeface="+mn-cs"/>
      </a:defRPr>
    </a:lvl7pPr>
    <a:lvl8pPr marL="2505832" algn="l" defTabSz="715952" rtl="0" eaLnBrk="1" latinLnBrk="0" hangingPunct="1">
      <a:defRPr sz="939" kern="1200">
        <a:solidFill>
          <a:schemeClr val="tx1"/>
        </a:solidFill>
        <a:latin typeface="+mn-lt"/>
        <a:ea typeface="+mn-ea"/>
        <a:cs typeface="+mn-cs"/>
      </a:defRPr>
    </a:lvl8pPr>
    <a:lvl9pPr marL="2863809" algn="l" defTabSz="715952" rtl="0" eaLnBrk="1" latinLnBrk="0" hangingPunct="1">
      <a:defRPr sz="939"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3525" y="769938"/>
            <a:ext cx="6843713" cy="384968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a:p>
        </p:txBody>
      </p:sp>
    </p:spTree>
    <p:extLst>
      <p:ext uri="{BB962C8B-B14F-4D97-AF65-F5344CB8AC3E}">
        <p14:creationId xmlns:p14="http://schemas.microsoft.com/office/powerpoint/2010/main" val="23931529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C0F4A2C8-6C88-4E71-83EE-698B9D4FE22F}" type="slidenum">
              <a:rPr lang="en-US" smtClean="0"/>
              <a:pPr/>
              <a:t>11</a:t>
            </a:fld>
            <a:endParaRPr lang="en-US"/>
          </a:p>
        </p:txBody>
      </p:sp>
    </p:spTree>
    <p:extLst>
      <p:ext uri="{BB962C8B-B14F-4D97-AF65-F5344CB8AC3E}">
        <p14:creationId xmlns:p14="http://schemas.microsoft.com/office/powerpoint/2010/main" val="22152443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C0F4A2C8-6C88-4E71-83EE-698B9D4FE22F}" type="slidenum">
              <a:rPr lang="en-US" smtClean="0"/>
              <a:pPr/>
              <a:t>12</a:t>
            </a:fld>
            <a:endParaRPr lang="en-US"/>
          </a:p>
        </p:txBody>
      </p:sp>
    </p:spTree>
    <p:extLst>
      <p:ext uri="{BB962C8B-B14F-4D97-AF65-F5344CB8AC3E}">
        <p14:creationId xmlns:p14="http://schemas.microsoft.com/office/powerpoint/2010/main" val="20926154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a:pPr/>
              <a:t>13</a:t>
            </a:fld>
            <a:endParaRPr lang="en-US"/>
          </a:p>
        </p:txBody>
      </p:sp>
    </p:spTree>
    <p:extLst>
      <p:ext uri="{BB962C8B-B14F-4D97-AF65-F5344CB8AC3E}">
        <p14:creationId xmlns:p14="http://schemas.microsoft.com/office/powerpoint/2010/main" val="18645726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336304E-FDE3-4B4F-A3B7-EBE87F3FA5E2}" type="slidenum">
              <a:rPr lang="en-US" smtClean="0"/>
              <a:t>2</a:t>
            </a:fld>
            <a:endParaRPr lang="en-US"/>
          </a:p>
        </p:txBody>
      </p:sp>
    </p:spTree>
    <p:extLst>
      <p:ext uri="{BB962C8B-B14F-4D97-AF65-F5344CB8AC3E}">
        <p14:creationId xmlns:p14="http://schemas.microsoft.com/office/powerpoint/2010/main" val="33280789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AU" i="1"/>
          </a:p>
        </p:txBody>
      </p:sp>
      <p:sp>
        <p:nvSpPr>
          <p:cNvPr id="4" name="Slide Number Placeholder 3"/>
          <p:cNvSpPr>
            <a:spLocks noGrp="1"/>
          </p:cNvSpPr>
          <p:nvPr>
            <p:ph type="sldNum" sz="quarter" idx="5"/>
          </p:nvPr>
        </p:nvSpPr>
        <p:spPr/>
        <p:txBody>
          <a:bodyPr/>
          <a:lstStyle/>
          <a:p>
            <a:fld id="{C0F4A2C8-6C88-4E71-83EE-698B9D4FE22F}" type="slidenum">
              <a:rPr lang="en-US" smtClean="0"/>
              <a:pPr/>
              <a:t>3</a:t>
            </a:fld>
            <a:endParaRPr lang="en-US"/>
          </a:p>
        </p:txBody>
      </p:sp>
    </p:spTree>
    <p:extLst>
      <p:ext uri="{BB962C8B-B14F-4D97-AF65-F5344CB8AC3E}">
        <p14:creationId xmlns:p14="http://schemas.microsoft.com/office/powerpoint/2010/main" val="33000198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AU" i="1"/>
          </a:p>
        </p:txBody>
      </p:sp>
      <p:sp>
        <p:nvSpPr>
          <p:cNvPr id="4" name="Slide Number Placeholder 3"/>
          <p:cNvSpPr>
            <a:spLocks noGrp="1"/>
          </p:cNvSpPr>
          <p:nvPr>
            <p:ph type="sldNum" sz="quarter" idx="5"/>
          </p:nvPr>
        </p:nvSpPr>
        <p:spPr/>
        <p:txBody>
          <a:bodyPr/>
          <a:lstStyle/>
          <a:p>
            <a:fld id="{C0F4A2C8-6C88-4E71-83EE-698B9D4FE22F}" type="slidenum">
              <a:rPr lang="en-US" smtClean="0"/>
              <a:pPr/>
              <a:t>4</a:t>
            </a:fld>
            <a:endParaRPr lang="en-US"/>
          </a:p>
        </p:txBody>
      </p:sp>
    </p:spTree>
    <p:extLst>
      <p:ext uri="{BB962C8B-B14F-4D97-AF65-F5344CB8AC3E}">
        <p14:creationId xmlns:p14="http://schemas.microsoft.com/office/powerpoint/2010/main" val="40857476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C0F4A2C8-6C88-4E71-83EE-698B9D4FE22F}" type="slidenum">
              <a:rPr lang="en-US" smtClean="0"/>
              <a:pPr/>
              <a:t>6</a:t>
            </a:fld>
            <a:endParaRPr lang="en-US"/>
          </a:p>
        </p:txBody>
      </p:sp>
    </p:spTree>
    <p:extLst>
      <p:ext uri="{BB962C8B-B14F-4D97-AF65-F5344CB8AC3E}">
        <p14:creationId xmlns:p14="http://schemas.microsoft.com/office/powerpoint/2010/main" val="36291688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C0F4A2C8-6C88-4E71-83EE-698B9D4FE22F}" type="slidenum">
              <a:rPr lang="en-US" smtClean="0"/>
              <a:pPr/>
              <a:t>7</a:t>
            </a:fld>
            <a:endParaRPr lang="en-US"/>
          </a:p>
        </p:txBody>
      </p:sp>
    </p:spTree>
    <p:extLst>
      <p:ext uri="{BB962C8B-B14F-4D97-AF65-F5344CB8AC3E}">
        <p14:creationId xmlns:p14="http://schemas.microsoft.com/office/powerpoint/2010/main" val="28953192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C0F4A2C8-6C88-4E71-83EE-698B9D4FE22F}" type="slidenum">
              <a:rPr lang="en-US" smtClean="0"/>
              <a:pPr/>
              <a:t>8</a:t>
            </a:fld>
            <a:endParaRPr lang="en-US"/>
          </a:p>
        </p:txBody>
      </p:sp>
    </p:spTree>
    <p:extLst>
      <p:ext uri="{BB962C8B-B14F-4D97-AF65-F5344CB8AC3E}">
        <p14:creationId xmlns:p14="http://schemas.microsoft.com/office/powerpoint/2010/main" val="33283149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a:t>From Hamish in EF and FYBO</a:t>
            </a:r>
          </a:p>
        </p:txBody>
      </p:sp>
      <p:sp>
        <p:nvSpPr>
          <p:cNvPr id="4" name="Slide Number Placeholder 3"/>
          <p:cNvSpPr>
            <a:spLocks noGrp="1"/>
          </p:cNvSpPr>
          <p:nvPr>
            <p:ph type="sldNum" sz="quarter" idx="5"/>
          </p:nvPr>
        </p:nvSpPr>
        <p:spPr/>
        <p:txBody>
          <a:bodyPr/>
          <a:lstStyle/>
          <a:p>
            <a:fld id="{C0F4A2C8-6C88-4E71-83EE-698B9D4FE22F}" type="slidenum">
              <a:rPr lang="en-US" smtClean="0"/>
              <a:pPr/>
              <a:t>9</a:t>
            </a:fld>
            <a:endParaRPr lang="en-US"/>
          </a:p>
        </p:txBody>
      </p:sp>
    </p:spTree>
    <p:extLst>
      <p:ext uri="{BB962C8B-B14F-4D97-AF65-F5344CB8AC3E}">
        <p14:creationId xmlns:p14="http://schemas.microsoft.com/office/powerpoint/2010/main" val="38427061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a:t>Email from Andy on JSA </a:t>
            </a:r>
          </a:p>
        </p:txBody>
      </p:sp>
      <p:sp>
        <p:nvSpPr>
          <p:cNvPr id="4" name="Slide Number Placeholder 3"/>
          <p:cNvSpPr>
            <a:spLocks noGrp="1"/>
          </p:cNvSpPr>
          <p:nvPr>
            <p:ph type="sldNum" sz="quarter" idx="5"/>
          </p:nvPr>
        </p:nvSpPr>
        <p:spPr/>
        <p:txBody>
          <a:bodyPr/>
          <a:lstStyle/>
          <a:p>
            <a:fld id="{C0F4A2C8-6C88-4E71-83EE-698B9D4FE22F}" type="slidenum">
              <a:rPr lang="en-US" smtClean="0"/>
              <a:pPr/>
              <a:t>10</a:t>
            </a:fld>
            <a:endParaRPr lang="en-US"/>
          </a:p>
        </p:txBody>
      </p:sp>
    </p:spTree>
    <p:extLst>
      <p:ext uri="{BB962C8B-B14F-4D97-AF65-F5344CB8AC3E}">
        <p14:creationId xmlns:p14="http://schemas.microsoft.com/office/powerpoint/2010/main" val="8793037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22" name="LAN_peProposalTitle"/>
          <p:cNvSpPr>
            <a:spLocks noGrp="1"/>
          </p:cNvSpPr>
          <p:nvPr>
            <p:ph type="ctrTitle" hasCustomPrompt="1"/>
          </p:nvPr>
        </p:nvSpPr>
        <p:spPr bwMode="gray">
          <a:xfrm>
            <a:off x="475254" y="5527076"/>
            <a:ext cx="5511493" cy="347588"/>
          </a:xfrm>
        </p:spPr>
        <p:txBody>
          <a:bodyPr anchor="b" anchorCtr="0">
            <a:noAutofit/>
          </a:bodyPr>
          <a:lstStyle>
            <a:lvl1pPr algn="l">
              <a:lnSpc>
                <a:spcPct val="100000"/>
              </a:lnSpc>
              <a:defRPr sz="1990" b="1">
                <a:solidFill>
                  <a:schemeClr val="tx1"/>
                </a:solidFill>
                <a:latin typeface="+mj-lt"/>
                <a:ea typeface="Open Sans" panose="020B0606030504020204" pitchFamily="34" charset="0"/>
                <a:cs typeface="Open Sans" panose="020B0606030504020204" pitchFamily="34" charset="0"/>
              </a:defRPr>
            </a:lvl1pPr>
          </a:lstStyle>
          <a:p>
            <a:r>
              <a:rPr lang="en-AU" noProof="0"/>
              <a:t>Title runs here</a:t>
            </a:r>
          </a:p>
        </p:txBody>
      </p:sp>
      <p:sp>
        <p:nvSpPr>
          <p:cNvPr id="24" name="LAN_pePresentationSubtitle"/>
          <p:cNvSpPr>
            <a:spLocks noGrp="1"/>
          </p:cNvSpPr>
          <p:nvPr>
            <p:ph type="subTitle" idx="1" hasCustomPrompt="1"/>
          </p:nvPr>
        </p:nvSpPr>
        <p:spPr bwMode="gray">
          <a:xfrm>
            <a:off x="471962" y="5874560"/>
            <a:ext cx="5512715" cy="507204"/>
          </a:xfrm>
          <a:prstGeom prst="rect">
            <a:avLst/>
          </a:prstGeom>
        </p:spPr>
        <p:txBody>
          <a:bodyPr lIns="0" tIns="0" rIns="0" bIns="0">
            <a:noAutofit/>
          </a:bodyPr>
          <a:lstStyle>
            <a:lvl1pPr marL="0" indent="0" algn="l">
              <a:lnSpc>
                <a:spcPct val="100000"/>
              </a:lnSpc>
              <a:spcAft>
                <a:spcPts val="0"/>
              </a:spcAft>
              <a:buNone/>
              <a:defRPr sz="1627">
                <a:solidFill>
                  <a:schemeClr val="tx1"/>
                </a:solidFill>
              </a:defRPr>
            </a:lvl1pPr>
            <a:lvl2pPr marL="447663" indent="0" algn="ctr">
              <a:buNone/>
              <a:defRPr sz="1958"/>
            </a:lvl2pPr>
            <a:lvl3pPr marL="895322" indent="0" algn="ctr">
              <a:buNone/>
              <a:defRPr sz="1764"/>
            </a:lvl3pPr>
            <a:lvl4pPr marL="1342981" indent="0" algn="ctr">
              <a:buNone/>
              <a:defRPr sz="1566"/>
            </a:lvl4pPr>
            <a:lvl5pPr marL="1790640" indent="0" algn="ctr">
              <a:buNone/>
              <a:defRPr sz="1566"/>
            </a:lvl5pPr>
            <a:lvl6pPr marL="2238305" indent="0" algn="ctr">
              <a:buNone/>
              <a:defRPr sz="1566"/>
            </a:lvl6pPr>
            <a:lvl7pPr marL="2685962" indent="0" algn="ctr">
              <a:buNone/>
              <a:defRPr sz="1566"/>
            </a:lvl7pPr>
            <a:lvl8pPr marL="3133623" indent="0" algn="ctr">
              <a:buNone/>
              <a:defRPr sz="1566"/>
            </a:lvl8pPr>
            <a:lvl9pPr marL="3581284" indent="0" algn="ctr">
              <a:buNone/>
              <a:defRPr sz="1566"/>
            </a:lvl9pPr>
          </a:lstStyle>
          <a:p>
            <a:pPr lvl="0"/>
            <a:r>
              <a:rPr lang="en-AU"/>
              <a:t>Subtitle here two lines max</a:t>
            </a:r>
          </a:p>
        </p:txBody>
      </p:sp>
      <p:sp>
        <p:nvSpPr>
          <p:cNvPr id="9" name="Picture Placeholder 8"/>
          <p:cNvSpPr>
            <a:spLocks noGrp="1" noChangeAspect="1"/>
          </p:cNvSpPr>
          <p:nvPr>
            <p:ph type="pic" sz="quarter" idx="11" hasCustomPrompt="1"/>
          </p:nvPr>
        </p:nvSpPr>
        <p:spPr>
          <a:xfrm>
            <a:off x="3018064" y="711301"/>
            <a:ext cx="6157684" cy="4898782"/>
          </a:xfrm>
          <a:prstGeom prst="rect">
            <a:avLst/>
          </a:prstGeom>
        </p:spPr>
        <p:txBody>
          <a:bodyPr/>
          <a:lstStyle/>
          <a:p>
            <a:r>
              <a:rPr lang="en-AU"/>
              <a:t>Drag picture to placeholder or click icon to add</a:t>
            </a:r>
          </a:p>
        </p:txBody>
      </p:sp>
      <p:sp>
        <p:nvSpPr>
          <p:cNvPr id="2" name="Footer Placeholder 1" hidden="1"/>
          <p:cNvSpPr>
            <a:spLocks noGrp="1"/>
          </p:cNvSpPr>
          <p:nvPr>
            <p:ph type="ftr" sz="quarter" idx="12"/>
          </p:nvPr>
        </p:nvSpPr>
        <p:spPr/>
        <p:txBody>
          <a:bodyPr/>
          <a:lstStyle>
            <a:lvl1pPr>
              <a:defRPr>
                <a:solidFill>
                  <a:schemeClr val="bg1"/>
                </a:solidFill>
              </a:defRPr>
            </a:lvl1pPr>
          </a:lstStyle>
          <a:p>
            <a:endParaRPr lang="en-AU"/>
          </a:p>
        </p:txBody>
      </p:sp>
      <p:pic>
        <p:nvPicPr>
          <p:cNvPr id="1044302901" name="LogoDisclaimerSlide"/>
          <p:cNvPicPr>
            <a:picLocks noChangeAspect="1"/>
          </p:cNvPicPr>
          <p:nvPr/>
        </p:nvPicPr>
        <p:blipFill>
          <a:blip r:embed="rId2"/>
          <a:stretch>
            <a:fillRect/>
          </a:stretch>
        </p:blipFill>
        <p:spPr>
          <a:xfrm>
            <a:off x="472092" y="359248"/>
            <a:ext cx="1891822" cy="659704"/>
          </a:xfrm>
          <a:prstGeom prst="rect">
            <a:avLst/>
          </a:prstGeom>
        </p:spPr>
      </p:pic>
      <p:sp>
        <p:nvSpPr>
          <p:cNvPr id="3" name="Date_DateCustomA"/>
          <p:cNvSpPr>
            <a:spLocks noGrp="1"/>
          </p:cNvSpPr>
          <p:nvPr>
            <p:ph type="dt" sz="half" idx="13"/>
          </p:nvPr>
        </p:nvSpPr>
        <p:spPr>
          <a:xfrm>
            <a:off x="502587" y="6525512"/>
            <a:ext cx="5482085" cy="146521"/>
          </a:xfrm>
          <a:prstGeom prst="rect">
            <a:avLst/>
          </a:prstGeom>
        </p:spPr>
        <p:txBody>
          <a:bodyPr/>
          <a:lstStyle/>
          <a:p>
            <a:r>
              <a:rPr lang="en-AU"/>
              <a:t>8 April 2022</a:t>
            </a:r>
          </a:p>
        </p:txBody>
      </p:sp>
      <p:sp>
        <p:nvSpPr>
          <p:cNvPr id="12" name="USR_Name"/>
          <p:cNvSpPr>
            <a:spLocks noGrp="1"/>
          </p:cNvSpPr>
          <p:nvPr>
            <p:ph type="body" sz="quarter" idx="14" hasCustomPrompt="1"/>
          </p:nvPr>
        </p:nvSpPr>
        <p:spPr>
          <a:xfrm>
            <a:off x="502587" y="6381314"/>
            <a:ext cx="5482085" cy="144201"/>
          </a:xfrm>
        </p:spPr>
        <p:txBody>
          <a:bodyPr/>
          <a:lstStyle>
            <a:lvl1pPr>
              <a:defRPr sz="905"/>
            </a:lvl1pPr>
          </a:lstStyle>
          <a:p>
            <a:pPr lvl="0"/>
            <a:r>
              <a:rPr lang="en-AU"/>
              <a:t>Sheraan Underwood</a:t>
            </a:r>
          </a:p>
        </p:txBody>
      </p:sp>
      <p:pic>
        <p:nvPicPr>
          <p:cNvPr id="396513318" name="Secondary_Logo"/>
          <p:cNvPicPr>
            <a:picLocks noChangeAspect="1"/>
          </p:cNvPicPr>
          <p:nvPr/>
        </p:nvPicPr>
        <p:blipFill>
          <a:blip r:embed="rId3"/>
          <a:stretch>
            <a:fillRect/>
          </a:stretch>
        </p:blipFill>
        <p:spPr>
          <a:xfrm>
            <a:off x="9421265" y="6103888"/>
            <a:ext cx="2284817" cy="480081"/>
          </a:xfrm>
          <a:prstGeom prst="rect">
            <a:avLst/>
          </a:prstGeom>
        </p:spPr>
      </p:pic>
    </p:spTree>
    <p:extLst>
      <p:ext uri="{BB962C8B-B14F-4D97-AF65-F5344CB8AC3E}">
        <p14:creationId xmlns:p14="http://schemas.microsoft.com/office/powerpoint/2010/main" val="2783079461"/>
      </p:ext>
    </p:extLst>
  </p:cSld>
  <p:clrMapOvr>
    <a:masterClrMapping/>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27816" y="669500"/>
            <a:ext cx="11201795" cy="757252"/>
          </a:xfrm>
          <a:prstGeom prst="rect">
            <a:avLst/>
          </a:prstGeom>
        </p:spPr>
        <p:txBody>
          <a:bodyPr lIns="0" tIns="0" rIns="0" bIns="0">
            <a:noAutofit/>
          </a:bodyPr>
          <a:lstStyle>
            <a:lvl1pPr marL="0" indent="0">
              <a:buNone/>
              <a:defRPr sz="1808" b="0">
                <a:solidFill>
                  <a:srgbClr val="575757"/>
                </a:solidFill>
              </a:defRPr>
            </a:lvl1pPr>
          </a:lstStyle>
          <a:p>
            <a:pPr lvl="0"/>
            <a:r>
              <a:rPr lang="en-AU"/>
              <a:t>Click to add subtitle</a:t>
            </a:r>
          </a:p>
        </p:txBody>
      </p:sp>
      <p:sp>
        <p:nvSpPr>
          <p:cNvPr id="14" name="Title Placeholder 1"/>
          <p:cNvSpPr>
            <a:spLocks noGrp="1"/>
          </p:cNvSpPr>
          <p:nvPr>
            <p:ph type="title"/>
          </p:nvPr>
        </p:nvSpPr>
        <p:spPr>
          <a:xfrm>
            <a:off x="426276" y="365775"/>
            <a:ext cx="11201795" cy="334099"/>
          </a:xfrm>
          <a:prstGeom prst="rect">
            <a:avLst/>
          </a:prstGeom>
        </p:spPr>
        <p:txBody>
          <a:bodyPr vert="horz" lIns="0" tIns="0" rIns="0" bIns="0" rtlCol="0" anchor="t" anchorCtr="0">
            <a:noAutofit/>
          </a:bodyPr>
          <a:lstStyle>
            <a:lvl1pPr>
              <a:defRPr/>
            </a:lvl1pPr>
          </a:lstStyle>
          <a:p>
            <a:r>
              <a:rPr lang="en-AU" noProof="0"/>
              <a:t>Click to edit Master title style</a:t>
            </a:r>
          </a:p>
        </p:txBody>
      </p:sp>
      <p:sp>
        <p:nvSpPr>
          <p:cNvPr id="8" name="Text Placeholder 18"/>
          <p:cNvSpPr>
            <a:spLocks noGrp="1"/>
          </p:cNvSpPr>
          <p:nvPr>
            <p:ph idx="1" hasCustomPrompt="1"/>
          </p:nvPr>
        </p:nvSpPr>
        <p:spPr>
          <a:xfrm>
            <a:off x="494201" y="1666273"/>
            <a:ext cx="11201795" cy="4712943"/>
          </a:xfrm>
          <a:prstGeom prst="rect">
            <a:avLst/>
          </a:prstGeom>
        </p:spPr>
        <p:txBody>
          <a:bodyPr vert="horz" lIns="0" tIns="0" rIns="0" bIns="0" rtlCol="0">
            <a:noAutofit/>
          </a:body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2" name="Footer Placeholder 1"/>
          <p:cNvSpPr>
            <a:spLocks noGrp="1"/>
          </p:cNvSpPr>
          <p:nvPr>
            <p:ph type="ftr" sz="quarter" idx="14"/>
          </p:nvPr>
        </p:nvSpPr>
        <p:spPr/>
        <p:txBody>
          <a:bodyPr/>
          <a:lstStyle/>
          <a:p>
            <a:endParaRPr lang="en-AU"/>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94201" y="651612"/>
            <a:ext cx="11201795" cy="757254"/>
          </a:xfrm>
          <a:prstGeom prst="rect">
            <a:avLst/>
          </a:prstGeom>
        </p:spPr>
        <p:txBody>
          <a:bodyPr lIns="0" tIns="0" rIns="0" bIns="0">
            <a:noAutofit/>
          </a:bodyPr>
          <a:lstStyle>
            <a:lvl1pPr marL="0" indent="0">
              <a:buNone/>
              <a:defRPr sz="1808" b="0">
                <a:solidFill>
                  <a:srgbClr val="575757"/>
                </a:solidFill>
              </a:defRPr>
            </a:lvl1pPr>
          </a:lstStyle>
          <a:p>
            <a:pPr lvl="0"/>
            <a:r>
              <a:rPr lang="en-AU" noProof="0"/>
              <a:t>Click to add subtitle</a:t>
            </a:r>
          </a:p>
        </p:txBody>
      </p:sp>
      <p:sp>
        <p:nvSpPr>
          <p:cNvPr id="14" name="Title Placeholder 1"/>
          <p:cNvSpPr>
            <a:spLocks noGrp="1"/>
          </p:cNvSpPr>
          <p:nvPr>
            <p:ph type="title"/>
          </p:nvPr>
        </p:nvSpPr>
        <p:spPr>
          <a:xfrm>
            <a:off x="494201" y="317504"/>
            <a:ext cx="11201795" cy="334097"/>
          </a:xfrm>
          <a:prstGeom prst="rect">
            <a:avLst/>
          </a:prstGeom>
        </p:spPr>
        <p:txBody>
          <a:bodyPr vert="horz" lIns="0" tIns="0" rIns="0" bIns="0" rtlCol="0" anchor="t" anchorCtr="0">
            <a:noAutofit/>
          </a:bodyPr>
          <a:lstStyle>
            <a:lvl1pPr>
              <a:defRPr/>
            </a:lvl1pPr>
          </a:lstStyle>
          <a:p>
            <a:r>
              <a:rPr lang="en-AU" noProof="0"/>
              <a:t>Click to edit Master title style</a:t>
            </a:r>
          </a:p>
        </p:txBody>
      </p:sp>
      <p:sp>
        <p:nvSpPr>
          <p:cNvPr id="8" name="Text Placeholder 18"/>
          <p:cNvSpPr>
            <a:spLocks noGrp="1"/>
          </p:cNvSpPr>
          <p:nvPr>
            <p:ph idx="1" hasCustomPrompt="1"/>
          </p:nvPr>
        </p:nvSpPr>
        <p:spPr>
          <a:xfrm>
            <a:off x="494201" y="1666273"/>
            <a:ext cx="11201795" cy="4712943"/>
          </a:xfrm>
          <a:prstGeom prst="rect">
            <a:avLst/>
          </a:prstGeom>
        </p:spPr>
        <p:txBody>
          <a:bodyPr vert="horz" lIns="0" tIns="0" rIns="0" bIns="0" rtlCol="0">
            <a:noAutofit/>
          </a:bodyPr>
          <a:lstStyle>
            <a:lvl1pPr>
              <a:defRPr sz="1566"/>
            </a:lvl1pPr>
            <a:lvl2pPr>
              <a:defRPr sz="1566"/>
            </a:lvl2pPr>
            <a:lvl3pPr>
              <a:defRPr sz="1566"/>
            </a:lvl3pPr>
            <a:lvl4pPr>
              <a:defRPr sz="1566"/>
            </a:lvl4pPr>
            <a:lvl5pPr>
              <a:defRPr sz="1566"/>
            </a:lvl5pPr>
            <a:lvl6pPr marL="348965" indent="0">
              <a:buNone/>
              <a:defRPr sz="1566"/>
            </a:lvl6pPr>
            <a:lvl7pPr>
              <a:defRPr sz="1566"/>
            </a:lvl7pPr>
            <a:lvl8pPr>
              <a:defRPr sz="1566"/>
            </a:lvl8pPr>
            <a:lvl9pPr>
              <a:defRPr sz="1566"/>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2" name="Footer Placeholder 1"/>
          <p:cNvSpPr>
            <a:spLocks noGrp="1"/>
          </p:cNvSpPr>
          <p:nvPr>
            <p:ph type="ftr" sz="quarter" idx="14"/>
          </p:nvPr>
        </p:nvSpPr>
        <p:spPr/>
        <p:txBody>
          <a:bodyPr/>
          <a:lstStyle/>
          <a:p>
            <a:endParaRPr lang="en-AU"/>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94208" y="650511"/>
            <a:ext cx="11201796" cy="757254"/>
          </a:xfrm>
          <a:prstGeom prst="rect">
            <a:avLst/>
          </a:prstGeom>
        </p:spPr>
        <p:txBody>
          <a:bodyPr lIns="0" tIns="0" rIns="0" bIns="0">
            <a:noAutofit/>
          </a:bodyPr>
          <a:lstStyle>
            <a:lvl1pPr marL="0" indent="0">
              <a:buNone/>
              <a:defRPr sz="1808" b="0">
                <a:solidFill>
                  <a:srgbClr val="575757"/>
                </a:solidFill>
              </a:defRPr>
            </a:lvl1pPr>
          </a:lstStyle>
          <a:p>
            <a:pPr lvl="0"/>
            <a:r>
              <a:rPr lang="en-AU"/>
              <a:t>Click to add subtitle</a:t>
            </a:r>
          </a:p>
        </p:txBody>
      </p:sp>
      <p:sp>
        <p:nvSpPr>
          <p:cNvPr id="16" name="Title Placeholder 1"/>
          <p:cNvSpPr>
            <a:spLocks noGrp="1"/>
          </p:cNvSpPr>
          <p:nvPr>
            <p:ph type="title" hasCustomPrompt="1"/>
          </p:nvPr>
        </p:nvSpPr>
        <p:spPr>
          <a:xfrm>
            <a:off x="494210" y="317518"/>
            <a:ext cx="11201796" cy="332995"/>
          </a:xfrm>
          <a:prstGeom prst="rect">
            <a:avLst/>
          </a:prstGeom>
        </p:spPr>
        <p:txBody>
          <a:bodyPr vert="horz" lIns="0" tIns="0" rIns="0" bIns="0" rtlCol="0" anchor="t" anchorCtr="0">
            <a:noAutofit/>
          </a:bodyPr>
          <a:lstStyle>
            <a:lvl1pPr>
              <a:defRPr/>
            </a:lvl1pPr>
          </a:lstStyle>
          <a:p>
            <a:r>
              <a:rPr lang="en-AU"/>
              <a:t>Click to add title</a:t>
            </a:r>
          </a:p>
        </p:txBody>
      </p:sp>
      <p:sp>
        <p:nvSpPr>
          <p:cNvPr id="17" name="Chart Placeholder 3"/>
          <p:cNvSpPr>
            <a:spLocks noGrp="1"/>
          </p:cNvSpPr>
          <p:nvPr>
            <p:ph type="chart" sz="quarter" idx="15"/>
          </p:nvPr>
        </p:nvSpPr>
        <p:spPr>
          <a:xfrm>
            <a:off x="494201" y="2052016"/>
            <a:ext cx="11201795" cy="4069013"/>
          </a:xfrm>
          <a:prstGeom prst="rect">
            <a:avLst/>
          </a:prstGeom>
        </p:spPr>
        <p:txBody>
          <a:bodyPr/>
          <a:lstStyle/>
          <a:p>
            <a:r>
              <a:rPr lang="en-AU"/>
              <a:t>Click icon to add chart</a:t>
            </a:r>
          </a:p>
        </p:txBody>
      </p:sp>
      <p:sp>
        <p:nvSpPr>
          <p:cNvPr id="18" name="Text Placeholder 8"/>
          <p:cNvSpPr>
            <a:spLocks noGrp="1"/>
          </p:cNvSpPr>
          <p:nvPr>
            <p:ph type="body" sz="quarter" idx="18" hasCustomPrompt="1"/>
          </p:nvPr>
        </p:nvSpPr>
        <p:spPr>
          <a:xfrm>
            <a:off x="494201" y="1666256"/>
            <a:ext cx="11201795" cy="366387"/>
          </a:xfrm>
        </p:spPr>
        <p:txBody>
          <a:bodyPr/>
          <a:lstStyle/>
          <a:p>
            <a:pPr lvl="0"/>
            <a:r>
              <a:rPr lang="en-AU" noProof="0"/>
              <a:t>Click to edit Master text styles</a:t>
            </a:r>
          </a:p>
        </p:txBody>
      </p:sp>
      <p:sp>
        <p:nvSpPr>
          <p:cNvPr id="19" name="Text Placeholder 7"/>
          <p:cNvSpPr>
            <a:spLocks noGrp="1"/>
          </p:cNvSpPr>
          <p:nvPr>
            <p:ph type="body" sz="quarter" idx="23" hasCustomPrompt="1"/>
          </p:nvPr>
        </p:nvSpPr>
        <p:spPr>
          <a:xfrm>
            <a:off x="494210" y="6121022"/>
            <a:ext cx="11201796" cy="260737"/>
          </a:xfrm>
        </p:spPr>
        <p:txBody>
          <a:bodyPr>
            <a:noAutofit/>
          </a:bodyPr>
          <a:lstStyle>
            <a:lvl1pPr>
              <a:spcAft>
                <a:spcPts val="0"/>
              </a:spcAft>
              <a:defRPr sz="905"/>
            </a:lvl1pPr>
          </a:lstStyle>
          <a:p>
            <a:pPr lvl="0"/>
            <a:r>
              <a:rPr lang="en-AU"/>
              <a:t>Click to edit Master text styles</a:t>
            </a:r>
          </a:p>
        </p:txBody>
      </p:sp>
      <p:sp>
        <p:nvSpPr>
          <p:cNvPr id="2" name="Footer Placeholder 1"/>
          <p:cNvSpPr>
            <a:spLocks noGrp="1"/>
          </p:cNvSpPr>
          <p:nvPr>
            <p:ph type="ftr" sz="quarter" idx="24"/>
          </p:nvPr>
        </p:nvSpPr>
        <p:spPr/>
        <p:txBody>
          <a:bodyPr/>
          <a:lstStyle/>
          <a:p>
            <a:endParaRPr lang="en-AU"/>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94204" y="651612"/>
            <a:ext cx="11201795" cy="757254"/>
          </a:xfrm>
          <a:prstGeom prst="rect">
            <a:avLst/>
          </a:prstGeom>
        </p:spPr>
        <p:txBody>
          <a:bodyPr lIns="0" tIns="0" rIns="0" bIns="0">
            <a:noAutofit/>
          </a:bodyPr>
          <a:lstStyle>
            <a:lvl1pPr marL="0" indent="0">
              <a:buNone/>
              <a:defRPr sz="1808" b="0">
                <a:solidFill>
                  <a:srgbClr val="575757"/>
                </a:solidFill>
              </a:defRPr>
            </a:lvl1pPr>
          </a:lstStyle>
          <a:p>
            <a:pPr lvl="0"/>
            <a:r>
              <a:rPr lang="en-AU"/>
              <a:t>Click to add subtitle</a:t>
            </a:r>
          </a:p>
        </p:txBody>
      </p:sp>
      <p:sp>
        <p:nvSpPr>
          <p:cNvPr id="16" name="Title Placeholder 1"/>
          <p:cNvSpPr>
            <a:spLocks noGrp="1"/>
          </p:cNvSpPr>
          <p:nvPr>
            <p:ph type="title" hasCustomPrompt="1"/>
          </p:nvPr>
        </p:nvSpPr>
        <p:spPr>
          <a:xfrm>
            <a:off x="494201" y="317506"/>
            <a:ext cx="11201795" cy="334094"/>
          </a:xfrm>
          <a:prstGeom prst="rect">
            <a:avLst/>
          </a:prstGeom>
        </p:spPr>
        <p:txBody>
          <a:bodyPr vert="horz" lIns="0" tIns="0" rIns="0" bIns="0" rtlCol="0" anchor="t" anchorCtr="0">
            <a:noAutofit/>
          </a:bodyPr>
          <a:lstStyle>
            <a:lvl1pPr>
              <a:defRPr/>
            </a:lvl1pPr>
          </a:lstStyle>
          <a:p>
            <a:r>
              <a:rPr lang="en-AU"/>
              <a:t>Click to add title</a:t>
            </a:r>
          </a:p>
        </p:txBody>
      </p:sp>
      <p:sp>
        <p:nvSpPr>
          <p:cNvPr id="17" name="Chart Placeholder 3"/>
          <p:cNvSpPr>
            <a:spLocks noGrp="1"/>
          </p:cNvSpPr>
          <p:nvPr>
            <p:ph type="chart" sz="quarter" idx="15"/>
          </p:nvPr>
        </p:nvSpPr>
        <p:spPr>
          <a:xfrm>
            <a:off x="512533" y="2052007"/>
            <a:ext cx="3581773" cy="4069014"/>
          </a:xfrm>
          <a:prstGeom prst="rect">
            <a:avLst/>
          </a:prstGeom>
        </p:spPr>
        <p:txBody>
          <a:bodyPr/>
          <a:lstStyle/>
          <a:p>
            <a:r>
              <a:rPr lang="en-AU" noProof="0"/>
              <a:t>Click icon to add chart</a:t>
            </a:r>
          </a:p>
        </p:txBody>
      </p:sp>
      <p:sp>
        <p:nvSpPr>
          <p:cNvPr id="18" name="Text Placeholder 8"/>
          <p:cNvSpPr>
            <a:spLocks noGrp="1"/>
          </p:cNvSpPr>
          <p:nvPr>
            <p:ph type="body" sz="quarter" idx="18" hasCustomPrompt="1"/>
          </p:nvPr>
        </p:nvSpPr>
        <p:spPr>
          <a:xfrm>
            <a:off x="506018" y="1665289"/>
            <a:ext cx="3588289" cy="392112"/>
          </a:xfrm>
        </p:spPr>
        <p:txBody>
          <a:bodyPr/>
          <a:lstStyle/>
          <a:p>
            <a:pPr lvl="0"/>
            <a:r>
              <a:rPr lang="en-AU" noProof="0"/>
              <a:t>Click to edit Master text styles</a:t>
            </a:r>
          </a:p>
        </p:txBody>
      </p:sp>
      <p:sp>
        <p:nvSpPr>
          <p:cNvPr id="7" name="Chart Placeholder 3"/>
          <p:cNvSpPr>
            <a:spLocks noGrp="1"/>
          </p:cNvSpPr>
          <p:nvPr>
            <p:ph type="chart" sz="quarter" idx="19"/>
          </p:nvPr>
        </p:nvSpPr>
        <p:spPr>
          <a:xfrm>
            <a:off x="4316099" y="2052007"/>
            <a:ext cx="3561616" cy="4069014"/>
          </a:xfrm>
          <a:prstGeom prst="rect">
            <a:avLst/>
          </a:prstGeom>
        </p:spPr>
        <p:txBody>
          <a:bodyPr/>
          <a:lstStyle/>
          <a:p>
            <a:r>
              <a:rPr lang="en-AU" noProof="0"/>
              <a:t>Click icon to add chart</a:t>
            </a:r>
          </a:p>
        </p:txBody>
      </p:sp>
      <p:sp>
        <p:nvSpPr>
          <p:cNvPr id="8" name="Text Placeholder 8"/>
          <p:cNvSpPr>
            <a:spLocks noGrp="1"/>
          </p:cNvSpPr>
          <p:nvPr>
            <p:ph type="body" sz="quarter" idx="20" hasCustomPrompt="1"/>
          </p:nvPr>
        </p:nvSpPr>
        <p:spPr>
          <a:xfrm>
            <a:off x="4316101" y="1665293"/>
            <a:ext cx="3561616" cy="392112"/>
          </a:xfrm>
        </p:spPr>
        <p:txBody>
          <a:bodyPr/>
          <a:lstStyle/>
          <a:p>
            <a:pPr lvl="0"/>
            <a:r>
              <a:rPr lang="en-AU" noProof="0"/>
              <a:t>Click to edit Master text styles</a:t>
            </a:r>
          </a:p>
        </p:txBody>
      </p:sp>
      <p:sp>
        <p:nvSpPr>
          <p:cNvPr id="9" name="Chart Placeholder 3"/>
          <p:cNvSpPr>
            <a:spLocks noGrp="1"/>
          </p:cNvSpPr>
          <p:nvPr>
            <p:ph type="chart" sz="quarter" idx="21"/>
          </p:nvPr>
        </p:nvSpPr>
        <p:spPr>
          <a:xfrm>
            <a:off x="8099512" y="2052007"/>
            <a:ext cx="3596486" cy="4069014"/>
          </a:xfrm>
          <a:prstGeom prst="rect">
            <a:avLst/>
          </a:prstGeom>
        </p:spPr>
        <p:txBody>
          <a:bodyPr/>
          <a:lstStyle/>
          <a:p>
            <a:r>
              <a:rPr lang="en-AU" noProof="0"/>
              <a:t>Click icon to add chart</a:t>
            </a:r>
          </a:p>
        </p:txBody>
      </p:sp>
      <p:sp>
        <p:nvSpPr>
          <p:cNvPr id="10" name="Text Placeholder 8"/>
          <p:cNvSpPr>
            <a:spLocks noGrp="1"/>
          </p:cNvSpPr>
          <p:nvPr>
            <p:ph type="body" sz="quarter" idx="22" hasCustomPrompt="1"/>
          </p:nvPr>
        </p:nvSpPr>
        <p:spPr>
          <a:xfrm>
            <a:off x="8094182" y="1659146"/>
            <a:ext cx="3601835" cy="398256"/>
          </a:xfrm>
        </p:spPr>
        <p:txBody>
          <a:bodyPr/>
          <a:lstStyle/>
          <a:p>
            <a:pPr lvl="0"/>
            <a:r>
              <a:rPr lang="en-AU" noProof="0"/>
              <a:t>Click to edit Master text styles</a:t>
            </a:r>
          </a:p>
        </p:txBody>
      </p:sp>
      <p:sp>
        <p:nvSpPr>
          <p:cNvPr id="12" name="Text Placeholder 7"/>
          <p:cNvSpPr>
            <a:spLocks noGrp="1"/>
          </p:cNvSpPr>
          <p:nvPr>
            <p:ph type="body" sz="quarter" idx="23" hasCustomPrompt="1"/>
          </p:nvPr>
        </p:nvSpPr>
        <p:spPr>
          <a:xfrm>
            <a:off x="494208" y="6121028"/>
            <a:ext cx="11201794" cy="260293"/>
          </a:xfrm>
        </p:spPr>
        <p:txBody>
          <a:bodyPr>
            <a:noAutofit/>
          </a:bodyPr>
          <a:lstStyle>
            <a:lvl1pPr>
              <a:spcAft>
                <a:spcPts val="0"/>
              </a:spcAft>
              <a:defRPr sz="905"/>
            </a:lvl1pPr>
          </a:lstStyle>
          <a:p>
            <a:pPr lvl="0"/>
            <a:r>
              <a:rPr lang="en-AU" noProof="0"/>
              <a:t>Click to edit Master text styles</a:t>
            </a:r>
          </a:p>
        </p:txBody>
      </p:sp>
      <p:sp>
        <p:nvSpPr>
          <p:cNvPr id="2" name="Footer Placeholder 1"/>
          <p:cNvSpPr>
            <a:spLocks noGrp="1"/>
          </p:cNvSpPr>
          <p:nvPr>
            <p:ph type="ftr" sz="quarter" idx="24"/>
          </p:nvPr>
        </p:nvSpPr>
        <p:spPr/>
        <p:txBody>
          <a:bodyPr/>
          <a:lstStyle/>
          <a:p>
            <a:endParaRPr lang="en-AU"/>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27816" y="365776"/>
            <a:ext cx="11201795" cy="334097"/>
          </a:xfrm>
          <a:prstGeom prst="rect">
            <a:avLst/>
          </a:prstGeom>
        </p:spPr>
        <p:txBody>
          <a:bodyPr vert="horz" lIns="0" tIns="0" rIns="0" bIns="0" rtlCol="0" anchor="t" anchorCtr="0">
            <a:noAutofit/>
          </a:bodyPr>
          <a:lstStyle>
            <a:lvl1pPr>
              <a:defRPr/>
            </a:lvl1pPr>
          </a:lstStyle>
          <a:p>
            <a:r>
              <a:rPr lang="en-AU"/>
              <a:t>Click to add title</a:t>
            </a:r>
          </a:p>
        </p:txBody>
      </p:sp>
      <p:sp>
        <p:nvSpPr>
          <p:cNvPr id="9" name="Text Placeholder 8"/>
          <p:cNvSpPr>
            <a:spLocks noGrp="1"/>
          </p:cNvSpPr>
          <p:nvPr>
            <p:ph type="body" sz="quarter" idx="13" hasCustomPrompt="1"/>
          </p:nvPr>
        </p:nvSpPr>
        <p:spPr>
          <a:xfrm>
            <a:off x="427816" y="669501"/>
            <a:ext cx="11201795" cy="757254"/>
          </a:xfrm>
          <a:prstGeom prst="rect">
            <a:avLst/>
          </a:prstGeom>
        </p:spPr>
        <p:txBody>
          <a:bodyPr lIns="0" tIns="0" rIns="0" bIns="0">
            <a:noAutofit/>
          </a:bodyPr>
          <a:lstStyle>
            <a:lvl1pPr marL="0" indent="0">
              <a:buNone/>
              <a:defRPr sz="1808" b="0">
                <a:solidFill>
                  <a:srgbClr val="575757"/>
                </a:solidFill>
              </a:defRPr>
            </a:lvl1pPr>
          </a:lstStyle>
          <a:p>
            <a:pPr lvl="0"/>
            <a:r>
              <a:rPr lang="en-AU"/>
              <a:t>Click to add subtitle</a:t>
            </a:r>
          </a:p>
        </p:txBody>
      </p:sp>
      <p:sp>
        <p:nvSpPr>
          <p:cNvPr id="13" name="Content Placeholder 3"/>
          <p:cNvSpPr>
            <a:spLocks noGrp="1"/>
          </p:cNvSpPr>
          <p:nvPr>
            <p:ph sz="quarter" idx="10" hasCustomPrompt="1"/>
          </p:nvPr>
        </p:nvSpPr>
        <p:spPr>
          <a:xfrm>
            <a:off x="494208" y="1665302"/>
            <a:ext cx="5300855" cy="4716461"/>
          </a:xfrm>
          <a:prstGeom prst="rect">
            <a:avLst/>
          </a:prstGeom>
        </p:spPr>
        <p:txBody>
          <a:bodyPr/>
          <a:lstStyle>
            <a:lvl1pPr>
              <a:tabLst>
                <a:tab pos="4924300" algn="r"/>
              </a:tabLst>
              <a:defRPr/>
            </a:lvl1pPr>
            <a:lvl2pPr>
              <a:tabLst>
                <a:tab pos="4924300" algn="r"/>
              </a:tabLst>
              <a:defRPr/>
            </a:lvl2pPr>
            <a:lvl3pPr>
              <a:tabLst>
                <a:tab pos="4924300" algn="r"/>
              </a:tabLst>
              <a:defRPr/>
            </a:lvl3pPr>
            <a:lvl4pPr>
              <a:tabLst>
                <a:tab pos="4924300" algn="r"/>
              </a:tabLst>
              <a:defRPr/>
            </a:lvl4pPr>
            <a:lvl5pPr>
              <a:tabLst>
                <a:tab pos="4924300"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5" name="Content Placeholder 3"/>
          <p:cNvSpPr>
            <a:spLocks noGrp="1"/>
          </p:cNvSpPr>
          <p:nvPr>
            <p:ph sz="quarter" idx="20" hasCustomPrompt="1"/>
          </p:nvPr>
        </p:nvSpPr>
        <p:spPr>
          <a:xfrm>
            <a:off x="6399760" y="1665302"/>
            <a:ext cx="5296242" cy="4716461"/>
          </a:xfrm>
          <a:prstGeom prst="rect">
            <a:avLst/>
          </a:prstGeom>
        </p:spPr>
        <p:txBody>
          <a:bodyPr/>
          <a:lstStyle>
            <a:lvl1pPr>
              <a:tabLst>
                <a:tab pos="4924300" algn="r"/>
              </a:tabLst>
              <a:defRPr/>
            </a:lvl1pPr>
            <a:lvl2pPr>
              <a:tabLst>
                <a:tab pos="4924300" algn="r"/>
              </a:tabLst>
              <a:defRPr/>
            </a:lvl2pPr>
            <a:lvl3pPr>
              <a:tabLst>
                <a:tab pos="4924300" algn="r"/>
              </a:tabLst>
              <a:defRPr/>
            </a:lvl3pPr>
            <a:lvl4pPr>
              <a:tabLst>
                <a:tab pos="4924300" algn="r"/>
              </a:tabLst>
              <a:defRPr/>
            </a:lvl4pPr>
            <a:lvl5pPr>
              <a:tabLst>
                <a:tab pos="4924300"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2" name="Footer Placeholder 1"/>
          <p:cNvSpPr>
            <a:spLocks noGrp="1"/>
          </p:cNvSpPr>
          <p:nvPr>
            <p:ph type="ftr" sz="quarter" idx="21"/>
          </p:nvPr>
        </p:nvSpPr>
        <p:spPr/>
        <p:txBody>
          <a:bodyPr/>
          <a:lstStyle/>
          <a:p>
            <a:endParaRPr lang="en-AU"/>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494201" y="651612"/>
            <a:ext cx="11201795" cy="757254"/>
          </a:xfrm>
          <a:prstGeom prst="rect">
            <a:avLst/>
          </a:prstGeom>
        </p:spPr>
        <p:txBody>
          <a:bodyPr lIns="0" tIns="0" rIns="0" bIns="0">
            <a:noAutofit/>
          </a:bodyPr>
          <a:lstStyle>
            <a:lvl1pPr marL="0" indent="0">
              <a:buNone/>
              <a:defRPr sz="1808" b="0">
                <a:solidFill>
                  <a:srgbClr val="575757"/>
                </a:solidFill>
              </a:defRPr>
            </a:lvl1pPr>
          </a:lstStyle>
          <a:p>
            <a:pPr lvl="0"/>
            <a:r>
              <a:rPr lang="en-AU"/>
              <a:t>Click to add subtitle</a:t>
            </a:r>
          </a:p>
        </p:txBody>
      </p:sp>
      <p:sp>
        <p:nvSpPr>
          <p:cNvPr id="8" name="Title Placeholder 1"/>
          <p:cNvSpPr>
            <a:spLocks noGrp="1"/>
          </p:cNvSpPr>
          <p:nvPr>
            <p:ph type="title" hasCustomPrompt="1"/>
          </p:nvPr>
        </p:nvSpPr>
        <p:spPr>
          <a:xfrm>
            <a:off x="494201" y="317501"/>
            <a:ext cx="11201795" cy="334101"/>
          </a:xfrm>
          <a:prstGeom prst="rect">
            <a:avLst/>
          </a:prstGeom>
        </p:spPr>
        <p:txBody>
          <a:bodyPr vert="horz" lIns="0" tIns="0" rIns="0" bIns="0" rtlCol="0" anchor="t" anchorCtr="0">
            <a:noAutofit/>
          </a:bodyPr>
          <a:lstStyle>
            <a:lvl1pPr>
              <a:defRPr/>
            </a:lvl1pPr>
          </a:lstStyle>
          <a:p>
            <a:r>
              <a:rPr lang="en-AU"/>
              <a:t>Click to add title</a:t>
            </a:r>
          </a:p>
        </p:txBody>
      </p:sp>
      <p:sp>
        <p:nvSpPr>
          <p:cNvPr id="11" name="Content Placeholder 3"/>
          <p:cNvSpPr>
            <a:spLocks noGrp="1"/>
          </p:cNvSpPr>
          <p:nvPr>
            <p:ph sz="quarter" idx="10" hasCustomPrompt="1"/>
          </p:nvPr>
        </p:nvSpPr>
        <p:spPr>
          <a:xfrm>
            <a:off x="494198" y="1665302"/>
            <a:ext cx="5313036" cy="4716461"/>
          </a:xfrm>
          <a:prstGeom prst="rect">
            <a:avLst/>
          </a:prstGeom>
        </p:spPr>
        <p:txBody>
          <a:bodyPr>
            <a:noAutofit/>
          </a:bodyPr>
          <a:lstStyle>
            <a:lvl1pPr>
              <a:tabLst>
                <a:tab pos="4924300" algn="r"/>
              </a:tabLst>
              <a:defRPr sz="1566"/>
            </a:lvl1pPr>
            <a:lvl2pPr>
              <a:tabLst>
                <a:tab pos="4924300" algn="r"/>
              </a:tabLst>
              <a:defRPr sz="1566"/>
            </a:lvl2pPr>
            <a:lvl3pPr>
              <a:tabLst>
                <a:tab pos="4924300" algn="r"/>
              </a:tabLst>
              <a:defRPr sz="1566"/>
            </a:lvl3pPr>
            <a:lvl4pPr>
              <a:tabLst>
                <a:tab pos="4924300" algn="r"/>
              </a:tabLst>
              <a:defRPr sz="1566"/>
            </a:lvl4pPr>
            <a:lvl5pPr>
              <a:tabLst>
                <a:tab pos="4924300" algn="r"/>
              </a:tabLst>
              <a:defRPr baseline="0"/>
            </a:lvl5pPr>
            <a:lvl6pPr>
              <a:defRPr sz="1566"/>
            </a:lvl6pPr>
            <a:lvl7pPr>
              <a:defRPr sz="1566"/>
            </a:lvl7pPr>
            <a:lvl8pPr>
              <a:defRPr sz="1566"/>
            </a:lvl8pPr>
            <a:lvl9pPr>
              <a:defRPr sz="1566"/>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3" name="Content Placeholder 3"/>
          <p:cNvSpPr>
            <a:spLocks noGrp="1"/>
          </p:cNvSpPr>
          <p:nvPr>
            <p:ph sz="quarter" idx="20" hasCustomPrompt="1"/>
          </p:nvPr>
        </p:nvSpPr>
        <p:spPr>
          <a:xfrm>
            <a:off x="6384002" y="1665302"/>
            <a:ext cx="5311992" cy="4716461"/>
          </a:xfrm>
          <a:prstGeom prst="rect">
            <a:avLst/>
          </a:prstGeom>
        </p:spPr>
        <p:txBody>
          <a:bodyPr>
            <a:noAutofit/>
          </a:bodyPr>
          <a:lstStyle>
            <a:lvl1pPr>
              <a:tabLst>
                <a:tab pos="4924300" algn="r"/>
              </a:tabLst>
              <a:defRPr sz="1566"/>
            </a:lvl1pPr>
            <a:lvl2pPr>
              <a:tabLst>
                <a:tab pos="4924300" algn="r"/>
              </a:tabLst>
              <a:defRPr sz="1566"/>
            </a:lvl2pPr>
            <a:lvl3pPr>
              <a:tabLst>
                <a:tab pos="4924300" algn="r"/>
              </a:tabLst>
              <a:defRPr sz="1566"/>
            </a:lvl3pPr>
            <a:lvl4pPr>
              <a:tabLst>
                <a:tab pos="4924300" algn="r"/>
              </a:tabLst>
              <a:defRPr sz="1566"/>
            </a:lvl4pPr>
            <a:lvl5pPr>
              <a:tabLst>
                <a:tab pos="4924300" algn="r"/>
              </a:tabLst>
              <a:defRPr baseline="0"/>
            </a:lvl5pPr>
            <a:lvl6pPr>
              <a:defRPr sz="1566"/>
            </a:lvl6pPr>
            <a:lvl7pPr>
              <a:defRPr sz="1566"/>
            </a:lvl7pPr>
            <a:lvl8pPr>
              <a:defRPr sz="1566"/>
            </a:lvl8pPr>
            <a:lvl9pPr>
              <a:defRPr sz="1566"/>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2" name="Footer Placeholder 1"/>
          <p:cNvSpPr>
            <a:spLocks noGrp="1"/>
          </p:cNvSpPr>
          <p:nvPr>
            <p:ph type="ftr" sz="quarter" idx="21"/>
          </p:nvPr>
        </p:nvSpPr>
        <p:spPr/>
        <p:txBody>
          <a:bodyPr/>
          <a:lstStyle/>
          <a:p>
            <a:endParaRPr lang="en-AU"/>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hasCustomPrompt="1"/>
          </p:nvPr>
        </p:nvSpPr>
        <p:spPr>
          <a:xfrm>
            <a:off x="494210" y="1665294"/>
            <a:ext cx="5341270" cy="4455725"/>
          </a:xfrm>
          <a:prstGeom prst="rect">
            <a:avLst/>
          </a:prstGeom>
        </p:spPr>
        <p:txBody>
          <a:bodyPr/>
          <a:lstStyle>
            <a:lvl1pPr>
              <a:tabLst>
                <a:tab pos="4924300" algn="r"/>
              </a:tabLst>
              <a:defRPr/>
            </a:lvl1pPr>
            <a:lvl2pPr>
              <a:tabLst>
                <a:tab pos="4924300" algn="r"/>
              </a:tabLst>
              <a:defRPr/>
            </a:lvl2pPr>
            <a:lvl3pPr>
              <a:tabLst>
                <a:tab pos="4924300" algn="r"/>
              </a:tabLst>
              <a:defRPr/>
            </a:lvl3pPr>
            <a:lvl4pPr>
              <a:tabLst>
                <a:tab pos="4924300" algn="r"/>
              </a:tabLst>
              <a:defRPr/>
            </a:lvl4pPr>
            <a:lvl5pPr>
              <a:tabLst>
                <a:tab pos="4924300"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3" name="Chart Placeholder 2"/>
          <p:cNvSpPr>
            <a:spLocks noGrp="1"/>
          </p:cNvSpPr>
          <p:nvPr>
            <p:ph type="chart" sz="quarter" idx="21"/>
          </p:nvPr>
        </p:nvSpPr>
        <p:spPr>
          <a:xfrm>
            <a:off x="6341227" y="2125020"/>
            <a:ext cx="5354770" cy="3996000"/>
          </a:xfrm>
        </p:spPr>
        <p:txBody>
          <a:bodyPr/>
          <a:lstStyle/>
          <a:p>
            <a:r>
              <a:rPr lang="en-AU" noProof="0"/>
              <a:t>Click icon to add chart</a:t>
            </a:r>
          </a:p>
        </p:txBody>
      </p:sp>
      <p:sp>
        <p:nvSpPr>
          <p:cNvPr id="6" name="Text Placeholder 5"/>
          <p:cNvSpPr>
            <a:spLocks noGrp="1"/>
          </p:cNvSpPr>
          <p:nvPr>
            <p:ph type="body" sz="quarter" idx="22" hasCustomPrompt="1"/>
          </p:nvPr>
        </p:nvSpPr>
        <p:spPr>
          <a:xfrm>
            <a:off x="6341227" y="1665298"/>
            <a:ext cx="5354770" cy="420686"/>
          </a:xfrm>
        </p:spPr>
        <p:txBody>
          <a:bodyPr/>
          <a:lstStyle/>
          <a:p>
            <a:pPr lvl="0"/>
            <a:r>
              <a:rPr lang="en-AU" noProof="0"/>
              <a:t>Click to edit Master text styles</a:t>
            </a:r>
          </a:p>
        </p:txBody>
      </p:sp>
      <p:sp>
        <p:nvSpPr>
          <p:cNvPr id="11" name="Text Placeholder 8"/>
          <p:cNvSpPr>
            <a:spLocks noGrp="1"/>
          </p:cNvSpPr>
          <p:nvPr>
            <p:ph type="body" sz="quarter" idx="13" hasCustomPrompt="1"/>
          </p:nvPr>
        </p:nvSpPr>
        <p:spPr>
          <a:xfrm>
            <a:off x="494201" y="651612"/>
            <a:ext cx="11201795" cy="757254"/>
          </a:xfrm>
          <a:prstGeom prst="rect">
            <a:avLst/>
          </a:prstGeom>
        </p:spPr>
        <p:txBody>
          <a:bodyPr lIns="0" tIns="0" rIns="0" bIns="0">
            <a:noAutofit/>
          </a:bodyPr>
          <a:lstStyle>
            <a:lvl1pPr marL="0" indent="0">
              <a:buNone/>
              <a:defRPr sz="1808" b="0">
                <a:solidFill>
                  <a:srgbClr val="575757"/>
                </a:solidFill>
              </a:defRPr>
            </a:lvl1pPr>
          </a:lstStyle>
          <a:p>
            <a:pPr lvl="0"/>
            <a:r>
              <a:rPr lang="en-AU"/>
              <a:t>Click to add subtitle</a:t>
            </a:r>
          </a:p>
        </p:txBody>
      </p:sp>
      <p:sp>
        <p:nvSpPr>
          <p:cNvPr id="13" name="Title Placeholder 1"/>
          <p:cNvSpPr>
            <a:spLocks noGrp="1"/>
          </p:cNvSpPr>
          <p:nvPr>
            <p:ph type="title" hasCustomPrompt="1"/>
          </p:nvPr>
        </p:nvSpPr>
        <p:spPr>
          <a:xfrm>
            <a:off x="494201" y="317517"/>
            <a:ext cx="11201795" cy="334093"/>
          </a:xfrm>
          <a:prstGeom prst="rect">
            <a:avLst/>
          </a:prstGeom>
        </p:spPr>
        <p:txBody>
          <a:bodyPr vert="horz" lIns="0" tIns="0" rIns="0" bIns="0" rtlCol="0" anchor="t" anchorCtr="0">
            <a:noAutofit/>
          </a:bodyPr>
          <a:lstStyle>
            <a:lvl1pPr>
              <a:defRPr/>
            </a:lvl1pPr>
          </a:lstStyle>
          <a:p>
            <a:r>
              <a:rPr lang="en-AU"/>
              <a:t>Click to add title</a:t>
            </a:r>
          </a:p>
        </p:txBody>
      </p:sp>
      <p:sp>
        <p:nvSpPr>
          <p:cNvPr id="15" name="Text Placeholder 7"/>
          <p:cNvSpPr>
            <a:spLocks noGrp="1"/>
          </p:cNvSpPr>
          <p:nvPr>
            <p:ph type="body" sz="quarter" idx="23" hasCustomPrompt="1"/>
          </p:nvPr>
        </p:nvSpPr>
        <p:spPr>
          <a:xfrm>
            <a:off x="494201" y="6121025"/>
            <a:ext cx="11201795" cy="260292"/>
          </a:xfrm>
        </p:spPr>
        <p:txBody>
          <a:bodyPr>
            <a:noAutofit/>
          </a:bodyPr>
          <a:lstStyle>
            <a:lvl1pPr>
              <a:spcAft>
                <a:spcPts val="0"/>
              </a:spcAft>
              <a:defRPr sz="905"/>
            </a:lvl1pPr>
          </a:lstStyle>
          <a:p>
            <a:pPr lvl="0"/>
            <a:r>
              <a:rPr lang="en-AU"/>
              <a:t>Click to edit Master text styles</a:t>
            </a:r>
          </a:p>
        </p:txBody>
      </p:sp>
      <p:sp>
        <p:nvSpPr>
          <p:cNvPr id="2" name="Footer Placeholder 1"/>
          <p:cNvSpPr>
            <a:spLocks noGrp="1"/>
          </p:cNvSpPr>
          <p:nvPr>
            <p:ph type="ftr" sz="quarter" idx="24"/>
          </p:nvPr>
        </p:nvSpPr>
        <p:spPr/>
        <p:txBody>
          <a:bodyPr/>
          <a:lstStyle/>
          <a:p>
            <a:endParaRPr lang="en-AU"/>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7" y="2125020"/>
            <a:ext cx="5354770" cy="3996000"/>
          </a:xfrm>
        </p:spPr>
        <p:txBody>
          <a:bodyPr/>
          <a:lstStyle/>
          <a:p>
            <a:r>
              <a:rPr lang="en-AU"/>
              <a:t>Click icon to add chart</a:t>
            </a:r>
          </a:p>
        </p:txBody>
      </p:sp>
      <p:sp>
        <p:nvSpPr>
          <p:cNvPr id="6" name="Text Placeholder 5"/>
          <p:cNvSpPr>
            <a:spLocks noGrp="1"/>
          </p:cNvSpPr>
          <p:nvPr>
            <p:ph type="body" sz="quarter" idx="22" hasCustomPrompt="1"/>
          </p:nvPr>
        </p:nvSpPr>
        <p:spPr>
          <a:xfrm>
            <a:off x="6341227" y="1665298"/>
            <a:ext cx="5354770" cy="420686"/>
          </a:xfrm>
        </p:spPr>
        <p:txBody>
          <a:bodyPr/>
          <a:lstStyle/>
          <a:p>
            <a:pPr lvl="0"/>
            <a:r>
              <a:rPr lang="en-AU" noProof="0"/>
              <a:t>Click to edit Master text styles</a:t>
            </a:r>
          </a:p>
        </p:txBody>
      </p:sp>
      <p:sp>
        <p:nvSpPr>
          <p:cNvPr id="11" name="Text Placeholder 8"/>
          <p:cNvSpPr>
            <a:spLocks noGrp="1"/>
          </p:cNvSpPr>
          <p:nvPr>
            <p:ph type="body" sz="quarter" idx="13" hasCustomPrompt="1"/>
          </p:nvPr>
        </p:nvSpPr>
        <p:spPr>
          <a:xfrm>
            <a:off x="494201" y="651612"/>
            <a:ext cx="11201795" cy="757254"/>
          </a:xfrm>
          <a:prstGeom prst="rect">
            <a:avLst/>
          </a:prstGeom>
        </p:spPr>
        <p:txBody>
          <a:bodyPr lIns="0" tIns="0" rIns="0" bIns="0">
            <a:noAutofit/>
          </a:bodyPr>
          <a:lstStyle>
            <a:lvl1pPr marL="0" indent="0">
              <a:buNone/>
              <a:defRPr sz="1808" b="0">
                <a:solidFill>
                  <a:srgbClr val="575757"/>
                </a:solidFill>
              </a:defRPr>
            </a:lvl1pPr>
          </a:lstStyle>
          <a:p>
            <a:pPr lvl="0"/>
            <a:r>
              <a:rPr lang="en-AU"/>
              <a:t>Click to add subtitle</a:t>
            </a:r>
          </a:p>
        </p:txBody>
      </p:sp>
      <p:sp>
        <p:nvSpPr>
          <p:cNvPr id="13" name="Title Placeholder 1"/>
          <p:cNvSpPr>
            <a:spLocks noGrp="1"/>
          </p:cNvSpPr>
          <p:nvPr>
            <p:ph type="title" hasCustomPrompt="1"/>
          </p:nvPr>
        </p:nvSpPr>
        <p:spPr>
          <a:xfrm>
            <a:off x="494201" y="317517"/>
            <a:ext cx="11201795" cy="334093"/>
          </a:xfrm>
          <a:prstGeom prst="rect">
            <a:avLst/>
          </a:prstGeom>
        </p:spPr>
        <p:txBody>
          <a:bodyPr vert="horz" lIns="0" tIns="0" rIns="0" bIns="0" rtlCol="0" anchor="t" anchorCtr="0">
            <a:noAutofit/>
          </a:bodyPr>
          <a:lstStyle>
            <a:lvl1pPr>
              <a:defRPr/>
            </a:lvl1pPr>
          </a:lstStyle>
          <a:p>
            <a:r>
              <a:rPr lang="en-AU"/>
              <a:t>Click to add title</a:t>
            </a:r>
          </a:p>
        </p:txBody>
      </p:sp>
      <p:sp>
        <p:nvSpPr>
          <p:cNvPr id="15" name="Text Placeholder 7"/>
          <p:cNvSpPr>
            <a:spLocks noGrp="1"/>
          </p:cNvSpPr>
          <p:nvPr>
            <p:ph type="body" sz="quarter" idx="23" hasCustomPrompt="1"/>
          </p:nvPr>
        </p:nvSpPr>
        <p:spPr>
          <a:xfrm>
            <a:off x="494209" y="6121026"/>
            <a:ext cx="11172875" cy="260292"/>
          </a:xfrm>
        </p:spPr>
        <p:txBody>
          <a:bodyPr>
            <a:noAutofit/>
          </a:bodyPr>
          <a:lstStyle>
            <a:lvl1pPr>
              <a:spcAft>
                <a:spcPts val="0"/>
              </a:spcAft>
              <a:defRPr sz="905"/>
            </a:lvl1pPr>
          </a:lstStyle>
          <a:p>
            <a:pPr lvl="0"/>
            <a:r>
              <a:rPr lang="en-AU"/>
              <a:t>Click to edit Master text styles</a:t>
            </a:r>
          </a:p>
        </p:txBody>
      </p:sp>
      <p:sp>
        <p:nvSpPr>
          <p:cNvPr id="9" name="Chart Placeholder 2"/>
          <p:cNvSpPr>
            <a:spLocks noGrp="1"/>
          </p:cNvSpPr>
          <p:nvPr>
            <p:ph type="chart" sz="quarter" idx="24"/>
          </p:nvPr>
        </p:nvSpPr>
        <p:spPr>
          <a:xfrm>
            <a:off x="494203" y="2125020"/>
            <a:ext cx="5346518" cy="3996000"/>
          </a:xfrm>
        </p:spPr>
        <p:txBody>
          <a:bodyPr/>
          <a:lstStyle/>
          <a:p>
            <a:r>
              <a:rPr lang="en-AU"/>
              <a:t>Click icon to add chart</a:t>
            </a:r>
          </a:p>
        </p:txBody>
      </p:sp>
      <p:sp>
        <p:nvSpPr>
          <p:cNvPr id="12" name="Text Placeholder 5"/>
          <p:cNvSpPr>
            <a:spLocks noGrp="1"/>
          </p:cNvSpPr>
          <p:nvPr>
            <p:ph type="body" sz="quarter" idx="25" hasCustomPrompt="1"/>
          </p:nvPr>
        </p:nvSpPr>
        <p:spPr>
          <a:xfrm>
            <a:off x="494207" y="1665298"/>
            <a:ext cx="5346521" cy="420686"/>
          </a:xfrm>
        </p:spPr>
        <p:txBody>
          <a:bodyPr/>
          <a:lstStyle/>
          <a:p>
            <a:pPr lvl="0"/>
            <a:r>
              <a:rPr lang="en-AU" noProof="0"/>
              <a:t>Click to edit Master text styles</a:t>
            </a:r>
          </a:p>
        </p:txBody>
      </p:sp>
      <p:sp>
        <p:nvSpPr>
          <p:cNvPr id="2" name="Footer Placeholder 1"/>
          <p:cNvSpPr>
            <a:spLocks noGrp="1"/>
          </p:cNvSpPr>
          <p:nvPr>
            <p:ph type="ftr" sz="quarter" idx="26"/>
          </p:nvPr>
        </p:nvSpPr>
        <p:spPr/>
        <p:txBody>
          <a:bodyPr/>
          <a:lstStyle/>
          <a:p>
            <a:endParaRPr lang="en-AU"/>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94202" y="317504"/>
            <a:ext cx="11201794" cy="334097"/>
          </a:xfrm>
          <a:prstGeom prst="rect">
            <a:avLst/>
          </a:prstGeom>
        </p:spPr>
        <p:txBody>
          <a:bodyPr vert="horz" lIns="0" tIns="0" rIns="0" bIns="0" rtlCol="0" anchor="t" anchorCtr="0">
            <a:noAutofit/>
          </a:bodyPr>
          <a:lstStyle>
            <a:lvl1pPr>
              <a:defRPr/>
            </a:lvl1pPr>
          </a:lstStyle>
          <a:p>
            <a:r>
              <a:rPr lang="en-AU"/>
              <a:t>Click to add title</a:t>
            </a:r>
          </a:p>
        </p:txBody>
      </p:sp>
      <p:sp>
        <p:nvSpPr>
          <p:cNvPr id="9" name="Text Placeholder 8"/>
          <p:cNvSpPr>
            <a:spLocks noGrp="1"/>
          </p:cNvSpPr>
          <p:nvPr>
            <p:ph type="body" sz="quarter" idx="13" hasCustomPrompt="1"/>
          </p:nvPr>
        </p:nvSpPr>
        <p:spPr>
          <a:xfrm>
            <a:off x="494201" y="651612"/>
            <a:ext cx="11201795" cy="757254"/>
          </a:xfrm>
          <a:prstGeom prst="rect">
            <a:avLst/>
          </a:prstGeom>
        </p:spPr>
        <p:txBody>
          <a:bodyPr lIns="0" tIns="0" rIns="0" bIns="0">
            <a:noAutofit/>
          </a:bodyPr>
          <a:lstStyle>
            <a:lvl1pPr marL="0" indent="0">
              <a:buNone/>
              <a:defRPr sz="1808" b="0">
                <a:solidFill>
                  <a:srgbClr val="575757"/>
                </a:solidFill>
              </a:defRPr>
            </a:lvl1pPr>
          </a:lstStyle>
          <a:p>
            <a:pPr lvl="0"/>
            <a:r>
              <a:rPr lang="en-AU"/>
              <a:t>Click to add subtitle</a:t>
            </a:r>
          </a:p>
        </p:txBody>
      </p:sp>
      <p:sp>
        <p:nvSpPr>
          <p:cNvPr id="6" name="Content Placeholder 3"/>
          <p:cNvSpPr>
            <a:spLocks noGrp="1"/>
          </p:cNvSpPr>
          <p:nvPr>
            <p:ph sz="quarter" idx="10" hasCustomPrompt="1"/>
          </p:nvPr>
        </p:nvSpPr>
        <p:spPr>
          <a:xfrm>
            <a:off x="494210" y="1665301"/>
            <a:ext cx="4467155" cy="4716463"/>
          </a:xfrm>
          <a:prstGeom prst="rect">
            <a:avLst/>
          </a:prstGeom>
        </p:spPr>
        <p:txBody>
          <a:bodyPr/>
          <a:lstStyle>
            <a:lvl1pPr>
              <a:tabLst>
                <a:tab pos="4924300" algn="r"/>
              </a:tabLst>
              <a:defRPr/>
            </a:lvl1pPr>
            <a:lvl2pPr>
              <a:tabLst>
                <a:tab pos="4924300" algn="r"/>
              </a:tabLst>
              <a:defRPr/>
            </a:lvl2pPr>
            <a:lvl3pPr>
              <a:tabLst>
                <a:tab pos="4924300" algn="r"/>
              </a:tabLst>
              <a:defRPr/>
            </a:lvl3pPr>
            <a:lvl4pPr>
              <a:tabLst>
                <a:tab pos="4924300" algn="r"/>
              </a:tabLst>
              <a:defRPr/>
            </a:lvl4pPr>
            <a:lvl5pPr>
              <a:tabLst>
                <a:tab pos="4924300"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8" name="Content Placeholder 3"/>
          <p:cNvSpPr>
            <a:spLocks noGrp="1"/>
          </p:cNvSpPr>
          <p:nvPr>
            <p:ph sz="quarter" idx="16" hasCustomPrompt="1"/>
          </p:nvPr>
        </p:nvSpPr>
        <p:spPr>
          <a:xfrm>
            <a:off x="5450360" y="1700220"/>
            <a:ext cx="6245641" cy="4681537"/>
          </a:xfrm>
          <a:prstGeom prst="rect">
            <a:avLst/>
          </a:prstGeom>
        </p:spPr>
        <p:txBody>
          <a:bodyPr/>
          <a:lstStyle>
            <a:lvl1pPr>
              <a:tabLst>
                <a:tab pos="4924300" algn="r"/>
              </a:tabLst>
              <a:defRPr/>
            </a:lvl1pPr>
            <a:lvl2pPr>
              <a:tabLst>
                <a:tab pos="4924300" algn="r"/>
              </a:tabLst>
              <a:defRPr/>
            </a:lvl2pPr>
            <a:lvl3pPr>
              <a:tabLst>
                <a:tab pos="4924300" algn="r"/>
              </a:tabLst>
              <a:defRPr/>
            </a:lvl3pPr>
            <a:lvl4pPr>
              <a:tabLst>
                <a:tab pos="4924300" algn="r"/>
              </a:tabLst>
              <a:defRPr/>
            </a:lvl4pPr>
            <a:lvl5pPr>
              <a:tabLst>
                <a:tab pos="4924300"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2" name="Footer Placeholder 1"/>
          <p:cNvSpPr>
            <a:spLocks noGrp="1"/>
          </p:cNvSpPr>
          <p:nvPr>
            <p:ph type="ftr" sz="quarter" idx="17"/>
          </p:nvPr>
        </p:nvSpPr>
        <p:spPr/>
        <p:txBody>
          <a:bodyPr/>
          <a:lstStyle/>
          <a:p>
            <a:endParaRPr lang="en-AU"/>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94210" y="317501"/>
            <a:ext cx="11201796" cy="334101"/>
          </a:xfrm>
          <a:prstGeom prst="rect">
            <a:avLst/>
          </a:prstGeom>
        </p:spPr>
        <p:txBody>
          <a:bodyPr vert="horz" lIns="0" tIns="0" rIns="0" bIns="0" rtlCol="0" anchor="t" anchorCtr="0">
            <a:noAutofit/>
          </a:bodyPr>
          <a:lstStyle>
            <a:lvl1pPr>
              <a:defRPr/>
            </a:lvl1pPr>
          </a:lstStyle>
          <a:p>
            <a:r>
              <a:rPr lang="en-AU"/>
              <a:t>Click to add title</a:t>
            </a:r>
          </a:p>
        </p:txBody>
      </p:sp>
      <p:sp>
        <p:nvSpPr>
          <p:cNvPr id="6" name="Content Placeholder 3"/>
          <p:cNvSpPr>
            <a:spLocks noGrp="1"/>
          </p:cNvSpPr>
          <p:nvPr>
            <p:ph sz="quarter" idx="10" hasCustomPrompt="1"/>
          </p:nvPr>
        </p:nvSpPr>
        <p:spPr>
          <a:xfrm>
            <a:off x="7577887" y="1658679"/>
            <a:ext cx="4118110" cy="4723072"/>
          </a:xfrm>
          <a:prstGeom prst="rect">
            <a:avLst/>
          </a:prstGeom>
        </p:spPr>
        <p:txBody>
          <a:bodyPr>
            <a:noAutofit/>
          </a:bodyPr>
          <a:lstStyle>
            <a:lvl1pPr>
              <a:tabLst>
                <a:tab pos="4924300" algn="r"/>
              </a:tabLst>
              <a:defRPr sz="2154">
                <a:solidFill>
                  <a:schemeClr val="accent3"/>
                </a:solidFill>
              </a:defRPr>
            </a:lvl1pPr>
            <a:lvl2pPr>
              <a:tabLst>
                <a:tab pos="4924300" algn="r"/>
              </a:tabLst>
              <a:defRPr/>
            </a:lvl2pPr>
            <a:lvl3pPr>
              <a:tabLst>
                <a:tab pos="4924300" algn="r"/>
              </a:tabLst>
              <a:defRPr/>
            </a:lvl3pPr>
            <a:lvl4pPr>
              <a:tabLst>
                <a:tab pos="4924300" algn="r"/>
              </a:tabLst>
              <a:defRPr/>
            </a:lvl4pPr>
            <a:lvl5pPr>
              <a:tabLst>
                <a:tab pos="4924300" algn="r"/>
              </a:tabLst>
              <a:defRPr baseline="0"/>
            </a:lvl5pPr>
          </a:lstStyle>
          <a:p>
            <a:pPr lvl="0"/>
            <a:r>
              <a:rPr lang="en-AU" noProof="0"/>
              <a:t>Click to edit Master text styles</a:t>
            </a:r>
          </a:p>
        </p:txBody>
      </p:sp>
      <p:sp>
        <p:nvSpPr>
          <p:cNvPr id="8" name="Content Placeholder 3"/>
          <p:cNvSpPr>
            <a:spLocks noGrp="1"/>
          </p:cNvSpPr>
          <p:nvPr>
            <p:ph sz="quarter" idx="16" hasCustomPrompt="1"/>
          </p:nvPr>
        </p:nvSpPr>
        <p:spPr>
          <a:xfrm>
            <a:off x="494200" y="1665294"/>
            <a:ext cx="6513807" cy="4716462"/>
          </a:xfrm>
          <a:prstGeom prst="rect">
            <a:avLst/>
          </a:prstGeom>
        </p:spPr>
        <p:txBody>
          <a:bodyPr/>
          <a:lstStyle>
            <a:lvl1pPr>
              <a:tabLst>
                <a:tab pos="4924300" algn="r"/>
              </a:tabLst>
              <a:defRPr/>
            </a:lvl1pPr>
            <a:lvl2pPr>
              <a:tabLst>
                <a:tab pos="4924300" algn="r"/>
              </a:tabLst>
              <a:defRPr/>
            </a:lvl2pPr>
            <a:lvl3pPr>
              <a:tabLst>
                <a:tab pos="4924300" algn="r"/>
              </a:tabLst>
              <a:defRPr/>
            </a:lvl3pPr>
            <a:lvl4pPr>
              <a:tabLst>
                <a:tab pos="4924300" algn="r"/>
              </a:tabLst>
              <a:defRPr/>
            </a:lvl4pPr>
            <a:lvl5pPr>
              <a:tabLst>
                <a:tab pos="4924300"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9" name="Text Placeholder 8"/>
          <p:cNvSpPr>
            <a:spLocks noGrp="1"/>
          </p:cNvSpPr>
          <p:nvPr>
            <p:ph type="body" sz="quarter" idx="13" hasCustomPrompt="1"/>
          </p:nvPr>
        </p:nvSpPr>
        <p:spPr>
          <a:xfrm>
            <a:off x="494201" y="651612"/>
            <a:ext cx="11201795" cy="757254"/>
          </a:xfrm>
          <a:prstGeom prst="rect">
            <a:avLst/>
          </a:prstGeom>
        </p:spPr>
        <p:txBody>
          <a:bodyPr lIns="0" tIns="0" rIns="0" bIns="0">
            <a:noAutofit/>
          </a:bodyPr>
          <a:lstStyle>
            <a:lvl1pPr marL="0" indent="0">
              <a:buNone/>
              <a:defRPr sz="1808" b="0">
                <a:solidFill>
                  <a:srgbClr val="575757"/>
                </a:solidFill>
              </a:defRPr>
            </a:lvl1pPr>
          </a:lstStyle>
          <a:p>
            <a:pPr lvl="0"/>
            <a:r>
              <a:rPr lang="en-AU"/>
              <a:t>Click to add subtitle</a:t>
            </a:r>
          </a:p>
        </p:txBody>
      </p:sp>
      <p:sp>
        <p:nvSpPr>
          <p:cNvPr id="2" name="Footer Placeholder 1"/>
          <p:cNvSpPr>
            <a:spLocks noGrp="1"/>
          </p:cNvSpPr>
          <p:nvPr>
            <p:ph type="ftr" sz="quarter" idx="17"/>
          </p:nvPr>
        </p:nvSpPr>
        <p:spPr/>
        <p:txBody>
          <a:bodyPr/>
          <a:lstStyle/>
          <a:p>
            <a:endParaRPr lang="en-AU"/>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22" name="LAN_peProposalTitle"/>
          <p:cNvSpPr>
            <a:spLocks noGrp="1"/>
          </p:cNvSpPr>
          <p:nvPr>
            <p:ph type="ctrTitle" hasCustomPrompt="1"/>
          </p:nvPr>
        </p:nvSpPr>
        <p:spPr bwMode="gray">
          <a:xfrm>
            <a:off x="475254" y="5527076"/>
            <a:ext cx="5511493" cy="347588"/>
          </a:xfrm>
        </p:spPr>
        <p:txBody>
          <a:bodyPr anchor="b" anchorCtr="0">
            <a:noAutofit/>
          </a:bodyPr>
          <a:lstStyle>
            <a:lvl1pPr algn="l">
              <a:lnSpc>
                <a:spcPct val="100000"/>
              </a:lnSpc>
              <a:defRPr sz="1990" b="1">
                <a:solidFill>
                  <a:schemeClr val="bg1"/>
                </a:solidFill>
                <a:latin typeface="+mj-lt"/>
                <a:ea typeface="Open Sans" panose="020B0606030504020204" pitchFamily="34" charset="0"/>
                <a:cs typeface="Open Sans" panose="020B0606030504020204" pitchFamily="34" charset="0"/>
              </a:defRPr>
            </a:lvl1pPr>
          </a:lstStyle>
          <a:p>
            <a:r>
              <a:rPr lang="en-AU" noProof="0"/>
              <a:t>Title runs here</a:t>
            </a:r>
          </a:p>
        </p:txBody>
      </p:sp>
      <p:sp>
        <p:nvSpPr>
          <p:cNvPr id="24" name="LAN_pePresentationSubtitle"/>
          <p:cNvSpPr>
            <a:spLocks noGrp="1"/>
          </p:cNvSpPr>
          <p:nvPr>
            <p:ph type="subTitle" idx="1" hasCustomPrompt="1"/>
          </p:nvPr>
        </p:nvSpPr>
        <p:spPr bwMode="gray">
          <a:xfrm>
            <a:off x="471962" y="5874560"/>
            <a:ext cx="5512715" cy="507204"/>
          </a:xfrm>
          <a:prstGeom prst="rect">
            <a:avLst/>
          </a:prstGeom>
        </p:spPr>
        <p:txBody>
          <a:bodyPr lIns="0" tIns="0" rIns="0" bIns="0">
            <a:noAutofit/>
          </a:bodyPr>
          <a:lstStyle>
            <a:lvl1pPr marL="0" indent="0" algn="l">
              <a:lnSpc>
                <a:spcPct val="100000"/>
              </a:lnSpc>
              <a:spcAft>
                <a:spcPts val="0"/>
              </a:spcAft>
              <a:buNone/>
              <a:defRPr sz="1627">
                <a:solidFill>
                  <a:schemeClr val="bg1"/>
                </a:solidFill>
              </a:defRPr>
            </a:lvl1pPr>
            <a:lvl2pPr marL="447663" indent="0" algn="ctr">
              <a:buNone/>
              <a:defRPr sz="1958"/>
            </a:lvl2pPr>
            <a:lvl3pPr marL="895322" indent="0" algn="ctr">
              <a:buNone/>
              <a:defRPr sz="1764"/>
            </a:lvl3pPr>
            <a:lvl4pPr marL="1342981" indent="0" algn="ctr">
              <a:buNone/>
              <a:defRPr sz="1566"/>
            </a:lvl4pPr>
            <a:lvl5pPr marL="1790640" indent="0" algn="ctr">
              <a:buNone/>
              <a:defRPr sz="1566"/>
            </a:lvl5pPr>
            <a:lvl6pPr marL="2238305" indent="0" algn="ctr">
              <a:buNone/>
              <a:defRPr sz="1566"/>
            </a:lvl6pPr>
            <a:lvl7pPr marL="2685962" indent="0" algn="ctr">
              <a:buNone/>
              <a:defRPr sz="1566"/>
            </a:lvl7pPr>
            <a:lvl8pPr marL="3133623" indent="0" algn="ctr">
              <a:buNone/>
              <a:defRPr sz="1566"/>
            </a:lvl8pPr>
            <a:lvl9pPr marL="3581284" indent="0" algn="ctr">
              <a:buNone/>
              <a:defRPr sz="1566"/>
            </a:lvl9pPr>
          </a:lstStyle>
          <a:p>
            <a:pPr lvl="0"/>
            <a:r>
              <a:rPr lang="en-AU"/>
              <a:t>Subtitle here two lines max</a:t>
            </a:r>
          </a:p>
        </p:txBody>
      </p:sp>
      <p:sp>
        <p:nvSpPr>
          <p:cNvPr id="9" name="Picture Placeholder 8"/>
          <p:cNvSpPr>
            <a:spLocks noGrp="1" noChangeAspect="1"/>
          </p:cNvSpPr>
          <p:nvPr>
            <p:ph type="pic" sz="quarter" idx="11" hasCustomPrompt="1"/>
          </p:nvPr>
        </p:nvSpPr>
        <p:spPr>
          <a:xfrm>
            <a:off x="3018064" y="711301"/>
            <a:ext cx="6157684" cy="4898782"/>
          </a:xfrm>
          <a:prstGeom prst="rect">
            <a:avLst/>
          </a:prstGeom>
        </p:spPr>
        <p:txBody>
          <a:bodyPr/>
          <a:lstStyle>
            <a:lvl1pPr>
              <a:defRPr>
                <a:solidFill>
                  <a:schemeClr val="bg1"/>
                </a:solidFill>
              </a:defRPr>
            </a:lvl1pPr>
          </a:lstStyle>
          <a:p>
            <a:r>
              <a:rPr lang="en-AU"/>
              <a:t>Drag picture to placeholder or click icon to add</a:t>
            </a:r>
          </a:p>
        </p:txBody>
      </p:sp>
      <p:sp>
        <p:nvSpPr>
          <p:cNvPr id="2" name="Footer Placeholder 1" hidden="1"/>
          <p:cNvSpPr>
            <a:spLocks noGrp="1"/>
          </p:cNvSpPr>
          <p:nvPr>
            <p:ph type="ftr" sz="quarter" idx="12"/>
          </p:nvPr>
        </p:nvSpPr>
        <p:spPr/>
        <p:txBody>
          <a:bodyPr/>
          <a:lstStyle>
            <a:lvl1pPr>
              <a:defRPr>
                <a:solidFill>
                  <a:schemeClr val="bg1"/>
                </a:solidFill>
              </a:defRPr>
            </a:lvl1pPr>
          </a:lstStyle>
          <a:p>
            <a:endParaRPr lang="en-AU"/>
          </a:p>
        </p:txBody>
      </p:sp>
      <p:sp>
        <p:nvSpPr>
          <p:cNvPr id="3" name="Date_DateCustomA"/>
          <p:cNvSpPr>
            <a:spLocks noGrp="1"/>
          </p:cNvSpPr>
          <p:nvPr>
            <p:ph type="dt" sz="half" idx="13"/>
          </p:nvPr>
        </p:nvSpPr>
        <p:spPr>
          <a:xfrm>
            <a:off x="502587" y="6525512"/>
            <a:ext cx="5482085" cy="146521"/>
          </a:xfrm>
          <a:prstGeom prst="rect">
            <a:avLst/>
          </a:prstGeom>
        </p:spPr>
        <p:txBody>
          <a:bodyPr/>
          <a:lstStyle>
            <a:lvl1pPr>
              <a:defRPr>
                <a:solidFill>
                  <a:schemeClr val="bg1"/>
                </a:solidFill>
              </a:defRPr>
            </a:lvl1pPr>
          </a:lstStyle>
          <a:p>
            <a:r>
              <a:rPr lang="en-AU"/>
              <a:t>8 April 2022</a:t>
            </a:r>
          </a:p>
        </p:txBody>
      </p:sp>
      <p:sp>
        <p:nvSpPr>
          <p:cNvPr id="12" name="USR_Name"/>
          <p:cNvSpPr>
            <a:spLocks noGrp="1"/>
          </p:cNvSpPr>
          <p:nvPr>
            <p:ph type="body" sz="quarter" idx="14" hasCustomPrompt="1"/>
          </p:nvPr>
        </p:nvSpPr>
        <p:spPr>
          <a:xfrm>
            <a:off x="502587" y="6381314"/>
            <a:ext cx="5482085" cy="144201"/>
          </a:xfrm>
        </p:spPr>
        <p:txBody>
          <a:bodyPr/>
          <a:lstStyle>
            <a:lvl1pPr>
              <a:defRPr sz="905">
                <a:solidFill>
                  <a:schemeClr val="bg1"/>
                </a:solidFill>
              </a:defRPr>
            </a:lvl1pPr>
          </a:lstStyle>
          <a:p>
            <a:pPr lvl="0"/>
            <a:r>
              <a:rPr lang="en-AU"/>
              <a:t>Sheraan Underwood</a:t>
            </a:r>
          </a:p>
        </p:txBody>
      </p:sp>
      <p:pic>
        <p:nvPicPr>
          <p:cNvPr id="1052571940" name="Secondary_Logo_White"/>
          <p:cNvPicPr>
            <a:picLocks noChangeAspect="1"/>
          </p:cNvPicPr>
          <p:nvPr/>
        </p:nvPicPr>
        <p:blipFill>
          <a:blip r:embed="rId2"/>
          <a:stretch>
            <a:fillRect/>
          </a:stretch>
        </p:blipFill>
        <p:spPr>
          <a:xfrm>
            <a:off x="9421265" y="6103888"/>
            <a:ext cx="2284817" cy="480081"/>
          </a:xfrm>
          <a:prstGeom prst="rect">
            <a:avLst/>
          </a:prstGeom>
        </p:spPr>
      </p:pic>
      <p:pic>
        <p:nvPicPr>
          <p:cNvPr id="13" name="LogoFrontSlide">
            <a:extLst>
              <a:ext uri="{FF2B5EF4-FFF2-40B4-BE49-F238E27FC236}">
                <a16:creationId xmlns:a16="http://schemas.microsoft.com/office/drawing/2014/main" id="{E02F5676-0890-4BB1-9D83-EDB078AED98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1967" y="371084"/>
            <a:ext cx="2455405" cy="856232"/>
          </a:xfrm>
          <a:prstGeom prst="rect">
            <a:avLst/>
          </a:prstGeom>
        </p:spPr>
      </p:pic>
    </p:spTree>
    <p:extLst>
      <p:ext uri="{BB962C8B-B14F-4D97-AF65-F5344CB8AC3E}">
        <p14:creationId xmlns:p14="http://schemas.microsoft.com/office/powerpoint/2010/main" val="523082652"/>
      </p:ext>
    </p:extLst>
  </p:cSld>
  <p:clrMapOvr>
    <a:masterClrMapping/>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4217" y="317501"/>
            <a:ext cx="11201794" cy="334101"/>
          </a:xfrm>
        </p:spPr>
        <p:txBody>
          <a:bodyPr/>
          <a:lstStyle/>
          <a:p>
            <a:r>
              <a:rPr lang="en-AU"/>
              <a:t>Click to add title</a:t>
            </a:r>
          </a:p>
        </p:txBody>
      </p:sp>
      <p:sp>
        <p:nvSpPr>
          <p:cNvPr id="4" name="Picture Placeholder 6"/>
          <p:cNvSpPr>
            <a:spLocks noGrp="1"/>
          </p:cNvSpPr>
          <p:nvPr>
            <p:ph type="pic" sz="quarter" idx="13" hasCustomPrompt="1"/>
          </p:nvPr>
        </p:nvSpPr>
        <p:spPr>
          <a:xfrm>
            <a:off x="498436" y="1696575"/>
            <a:ext cx="2712002" cy="1259999"/>
          </a:xfrm>
        </p:spPr>
        <p:txBody>
          <a:bodyPr lIns="0" tIns="0" rIns="0" bIns="0">
            <a:noAutofit/>
          </a:bodyPr>
          <a:lstStyle/>
          <a:p>
            <a:r>
              <a:rPr lang="en-AU" noProof="0"/>
              <a:t>Drag picture to placeholder or click icon to add</a:t>
            </a:r>
          </a:p>
        </p:txBody>
      </p:sp>
      <p:sp>
        <p:nvSpPr>
          <p:cNvPr id="5" name="Picture Placeholder 6"/>
          <p:cNvSpPr>
            <a:spLocks noGrp="1"/>
          </p:cNvSpPr>
          <p:nvPr>
            <p:ph type="pic" sz="quarter" idx="14" hasCustomPrompt="1"/>
          </p:nvPr>
        </p:nvSpPr>
        <p:spPr>
          <a:xfrm>
            <a:off x="3355150" y="1700222"/>
            <a:ext cx="2712002" cy="1259999"/>
          </a:xfrm>
        </p:spPr>
        <p:txBody>
          <a:bodyPr lIns="0" tIns="0" rIns="0" bIns="0">
            <a:noAutofit/>
          </a:bodyPr>
          <a:lstStyle/>
          <a:p>
            <a:r>
              <a:rPr lang="en-AU" noProof="0"/>
              <a:t>Drag picture to placeholder or click icon to add</a:t>
            </a:r>
          </a:p>
        </p:txBody>
      </p:sp>
      <p:sp>
        <p:nvSpPr>
          <p:cNvPr id="6" name="Picture Placeholder 6"/>
          <p:cNvSpPr>
            <a:spLocks noGrp="1"/>
          </p:cNvSpPr>
          <p:nvPr>
            <p:ph type="pic" sz="quarter" idx="15" hasCustomPrompt="1"/>
          </p:nvPr>
        </p:nvSpPr>
        <p:spPr>
          <a:xfrm>
            <a:off x="6151854" y="1700222"/>
            <a:ext cx="2712002" cy="1259999"/>
          </a:xfrm>
        </p:spPr>
        <p:txBody>
          <a:bodyPr lIns="0" tIns="0" rIns="0" bIns="0">
            <a:noAutofit/>
          </a:bodyPr>
          <a:lstStyle/>
          <a:p>
            <a:r>
              <a:rPr lang="en-AU" noProof="0"/>
              <a:t>Drag picture to placeholder or click icon to add</a:t>
            </a:r>
          </a:p>
        </p:txBody>
      </p:sp>
      <p:sp>
        <p:nvSpPr>
          <p:cNvPr id="7" name="Picture Placeholder 6"/>
          <p:cNvSpPr>
            <a:spLocks noGrp="1"/>
          </p:cNvSpPr>
          <p:nvPr>
            <p:ph type="pic" sz="quarter" idx="16" hasCustomPrompt="1"/>
          </p:nvPr>
        </p:nvSpPr>
        <p:spPr>
          <a:xfrm>
            <a:off x="8991408" y="1700222"/>
            <a:ext cx="2712002" cy="1259999"/>
          </a:xfrm>
        </p:spPr>
        <p:txBody>
          <a:bodyPr lIns="0" tIns="0" rIns="0" bIns="0">
            <a:noAutofit/>
          </a:bodyPr>
          <a:lstStyle/>
          <a:p>
            <a:r>
              <a:rPr lang="en-AU" noProof="0"/>
              <a:t>Drag picture to placeholder or click icon to add</a:t>
            </a:r>
          </a:p>
        </p:txBody>
      </p:sp>
      <p:sp>
        <p:nvSpPr>
          <p:cNvPr id="9" name="Text Placeholder 8"/>
          <p:cNvSpPr>
            <a:spLocks noGrp="1"/>
          </p:cNvSpPr>
          <p:nvPr>
            <p:ph type="body" sz="quarter" idx="17" hasCustomPrompt="1"/>
          </p:nvPr>
        </p:nvSpPr>
        <p:spPr>
          <a:xfrm>
            <a:off x="494204" y="3120569"/>
            <a:ext cx="2720469" cy="3257547"/>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2720" indent="-172720">
              <a:spcAft>
                <a:spcPts val="0"/>
              </a:spcAft>
              <a:buFont typeface="Arial" panose="020B0604020202020204" pitchFamily="34" charset="0"/>
              <a:buChar char="•"/>
              <a:defRPr/>
            </a:lvl4pPr>
            <a:lvl5pPr marL="348965" indent="-172720">
              <a:spcAft>
                <a:spcPts val="0"/>
              </a:spcAft>
              <a:defRPr baseline="0"/>
            </a:lvl5pPr>
            <a:lvl6pPr marL="348965" indent="-172720">
              <a:spcAft>
                <a:spcPts val="0"/>
              </a:spcAft>
              <a:buFont typeface="Verdana" panose="020B0604030504040204" pitchFamily="34" charset="0"/>
              <a:buChar char="−"/>
              <a:defRPr/>
            </a:lvl6pPr>
            <a:lvl7pPr marL="348965" indent="-172720">
              <a:spcAft>
                <a:spcPts val="0"/>
              </a:spcAft>
              <a:defRPr/>
            </a:lvl7pPr>
            <a:lvl8pPr marL="348965" indent="-172720">
              <a:spcAft>
                <a:spcPts val="0"/>
              </a:spcAft>
              <a:defRPr/>
            </a:lvl8pPr>
            <a:lvl9pPr marL="348965" indent="-17272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0" name="Text Placeholder 8"/>
          <p:cNvSpPr>
            <a:spLocks noGrp="1"/>
          </p:cNvSpPr>
          <p:nvPr>
            <p:ph type="body" sz="quarter" idx="18" hasCustomPrompt="1"/>
          </p:nvPr>
        </p:nvSpPr>
        <p:spPr>
          <a:xfrm>
            <a:off x="6158203" y="3120558"/>
            <a:ext cx="2712002" cy="3261199"/>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2720" indent="-172720">
              <a:spcAft>
                <a:spcPts val="0"/>
              </a:spcAft>
              <a:buFont typeface="Arial" panose="020B0604020202020204" pitchFamily="34" charset="0"/>
              <a:buChar char="•"/>
              <a:defRPr/>
            </a:lvl4pPr>
            <a:lvl5pPr marL="348965" indent="-172720">
              <a:spcAft>
                <a:spcPts val="0"/>
              </a:spcAft>
              <a:defRPr baseline="0"/>
            </a:lvl5pPr>
            <a:lvl6pPr marL="348965" indent="-172720">
              <a:spcAft>
                <a:spcPts val="0"/>
              </a:spcAft>
              <a:buFont typeface="Verdana" panose="020B0604030504040204" pitchFamily="34" charset="0"/>
              <a:buChar char="−"/>
              <a:defRPr/>
            </a:lvl6pPr>
            <a:lvl7pPr marL="348965" indent="-172720">
              <a:spcAft>
                <a:spcPts val="0"/>
              </a:spcAft>
              <a:defRPr/>
            </a:lvl7pPr>
            <a:lvl8pPr marL="348965" indent="-172720">
              <a:spcAft>
                <a:spcPts val="0"/>
              </a:spcAft>
              <a:defRPr/>
            </a:lvl8pPr>
            <a:lvl9pPr marL="348965" indent="-17272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1" name="Text Placeholder 8"/>
          <p:cNvSpPr>
            <a:spLocks noGrp="1"/>
          </p:cNvSpPr>
          <p:nvPr>
            <p:ph type="body" sz="quarter" idx="19" hasCustomPrompt="1"/>
          </p:nvPr>
        </p:nvSpPr>
        <p:spPr>
          <a:xfrm>
            <a:off x="3360440" y="3124207"/>
            <a:ext cx="2712002" cy="325754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2720" indent="-172720">
              <a:spcAft>
                <a:spcPts val="0"/>
              </a:spcAft>
              <a:buFont typeface="Arial" panose="020B0604020202020204" pitchFamily="34" charset="0"/>
              <a:buChar char="•"/>
              <a:defRPr/>
            </a:lvl4pPr>
            <a:lvl5pPr marL="348965" indent="-172720">
              <a:spcAft>
                <a:spcPts val="0"/>
              </a:spcAft>
              <a:defRPr baseline="0"/>
            </a:lvl5pPr>
            <a:lvl6pPr marL="348965" indent="-172720">
              <a:spcAft>
                <a:spcPts val="0"/>
              </a:spcAft>
              <a:buFont typeface="Verdana" panose="020B0604030504040204" pitchFamily="34" charset="0"/>
              <a:buChar char="−"/>
              <a:defRPr/>
            </a:lvl6pPr>
            <a:lvl7pPr marL="348965" indent="-172720">
              <a:spcAft>
                <a:spcPts val="0"/>
              </a:spcAft>
              <a:defRPr/>
            </a:lvl7pPr>
            <a:lvl8pPr marL="348965" indent="-172720">
              <a:spcAft>
                <a:spcPts val="0"/>
              </a:spcAft>
              <a:defRPr/>
            </a:lvl8pPr>
            <a:lvl9pPr marL="348965" indent="-17272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2" name="Text Placeholder 8"/>
          <p:cNvSpPr>
            <a:spLocks noGrp="1"/>
          </p:cNvSpPr>
          <p:nvPr>
            <p:ph type="body" sz="quarter" idx="20" hasCustomPrompt="1"/>
          </p:nvPr>
        </p:nvSpPr>
        <p:spPr>
          <a:xfrm>
            <a:off x="8998821" y="3120569"/>
            <a:ext cx="2697184" cy="3257547"/>
          </a:xfrm>
        </p:spPr>
        <p:txBody>
          <a:bodyPr/>
          <a:lstStyle>
            <a:lvl1pPr>
              <a:defRPr b="1">
                <a:solidFill>
                  <a:schemeClr val="accent1"/>
                </a:solidFill>
              </a:defRPr>
            </a:lvl1pPr>
            <a:lvl2pPr>
              <a:spcAft>
                <a:spcPts val="0"/>
              </a:spcAft>
              <a:defRPr/>
            </a:lvl2pPr>
            <a:lvl3pPr marL="154967" indent="-154967">
              <a:spcAft>
                <a:spcPts val="0"/>
              </a:spcAft>
              <a:buFont typeface="Arial" panose="020B0604020202020204" pitchFamily="34" charset="0"/>
              <a:buChar char="​"/>
              <a:defRPr/>
            </a:lvl3pPr>
            <a:lvl4pPr marL="172720" indent="-172720">
              <a:spcAft>
                <a:spcPts val="0"/>
              </a:spcAft>
              <a:buFont typeface="Arial" panose="020B0604020202020204" pitchFamily="34" charset="0"/>
              <a:buChar char="•"/>
              <a:defRPr/>
            </a:lvl4pPr>
            <a:lvl5pPr marL="348965" indent="-172720">
              <a:spcAft>
                <a:spcPts val="0"/>
              </a:spcAft>
              <a:defRPr baseline="0"/>
            </a:lvl5pPr>
            <a:lvl6pPr marL="348965" indent="-172720">
              <a:spcAft>
                <a:spcPts val="0"/>
              </a:spcAft>
              <a:buFont typeface="Verdana" panose="020B0604030504040204" pitchFamily="34" charset="0"/>
              <a:buChar char="−"/>
              <a:defRPr/>
            </a:lvl6pPr>
            <a:lvl7pPr marL="348965" indent="-172720">
              <a:spcAft>
                <a:spcPts val="0"/>
              </a:spcAft>
              <a:defRPr/>
            </a:lvl7pPr>
            <a:lvl8pPr marL="348965" indent="-172720">
              <a:spcAft>
                <a:spcPts val="0"/>
              </a:spcAft>
              <a:defRPr/>
            </a:lvl8pPr>
            <a:lvl9pPr marL="348965" indent="-172720">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a:p>
          <a:p>
            <a:pPr lvl="4"/>
            <a:endParaRPr lang="en-AU" noProof="0"/>
          </a:p>
        </p:txBody>
      </p:sp>
      <p:sp>
        <p:nvSpPr>
          <p:cNvPr id="13" name="Text Placeholder 8"/>
          <p:cNvSpPr>
            <a:spLocks noGrp="1"/>
          </p:cNvSpPr>
          <p:nvPr>
            <p:ph type="body" sz="quarter" idx="21" hasCustomPrompt="1"/>
          </p:nvPr>
        </p:nvSpPr>
        <p:spPr>
          <a:xfrm>
            <a:off x="494201" y="651612"/>
            <a:ext cx="11201795" cy="757254"/>
          </a:xfrm>
          <a:prstGeom prst="rect">
            <a:avLst/>
          </a:prstGeom>
        </p:spPr>
        <p:txBody>
          <a:bodyPr lIns="0" tIns="0" rIns="0" bIns="0">
            <a:noAutofit/>
          </a:bodyPr>
          <a:lstStyle>
            <a:lvl1pPr marL="0" indent="0">
              <a:buNone/>
              <a:defRPr sz="1808" b="0">
                <a:solidFill>
                  <a:srgbClr val="575757"/>
                </a:solidFill>
              </a:defRPr>
            </a:lvl1pPr>
          </a:lstStyle>
          <a:p>
            <a:pPr lvl="0"/>
            <a:r>
              <a:rPr lang="en-AU"/>
              <a:t>Click to add subtitle</a:t>
            </a:r>
          </a:p>
        </p:txBody>
      </p:sp>
      <p:sp>
        <p:nvSpPr>
          <p:cNvPr id="3" name="Footer Placeholder 2"/>
          <p:cNvSpPr>
            <a:spLocks noGrp="1"/>
          </p:cNvSpPr>
          <p:nvPr>
            <p:ph type="ftr" sz="quarter" idx="22"/>
          </p:nvPr>
        </p:nvSpPr>
        <p:spPr/>
        <p:txBody>
          <a:bodyPr/>
          <a:lstStyle/>
          <a:p>
            <a:endParaRPr lang="en-AU"/>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4263" y="317501"/>
            <a:ext cx="11201727" cy="334101"/>
          </a:xfrm>
        </p:spPr>
        <p:txBody>
          <a:bodyPr/>
          <a:lstStyle/>
          <a:p>
            <a:r>
              <a:rPr lang="en-AU"/>
              <a:t>Click to add title</a:t>
            </a:r>
            <a:endParaRPr lang="en-AU" noProof="0"/>
          </a:p>
        </p:txBody>
      </p:sp>
      <p:sp>
        <p:nvSpPr>
          <p:cNvPr id="4" name="Rectangle 3"/>
          <p:cNvSpPr/>
          <p:nvPr userDrawn="1"/>
        </p:nvSpPr>
        <p:spPr>
          <a:xfrm>
            <a:off x="494201" y="1707178"/>
            <a:ext cx="550580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077">
              <a:solidFill>
                <a:schemeClr val="bg1"/>
              </a:solidFill>
            </a:endParaRPr>
          </a:p>
        </p:txBody>
      </p:sp>
      <p:sp>
        <p:nvSpPr>
          <p:cNvPr id="5" name="Rectangle 4"/>
          <p:cNvSpPr/>
          <p:nvPr userDrawn="1"/>
        </p:nvSpPr>
        <p:spPr>
          <a:xfrm>
            <a:off x="6198286" y="1700223"/>
            <a:ext cx="5504969"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077">
              <a:solidFill>
                <a:schemeClr val="bg1"/>
              </a:solidFill>
            </a:endParaRPr>
          </a:p>
        </p:txBody>
      </p:sp>
      <p:sp>
        <p:nvSpPr>
          <p:cNvPr id="6" name="Rectangle 5"/>
          <p:cNvSpPr/>
          <p:nvPr userDrawn="1"/>
        </p:nvSpPr>
        <p:spPr>
          <a:xfrm>
            <a:off x="493127" y="4065189"/>
            <a:ext cx="5504969"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077">
              <a:solidFill>
                <a:schemeClr val="bg1"/>
              </a:solidFill>
            </a:endParaRPr>
          </a:p>
        </p:txBody>
      </p:sp>
      <p:sp>
        <p:nvSpPr>
          <p:cNvPr id="7" name="Rectangle 6"/>
          <p:cNvSpPr/>
          <p:nvPr userDrawn="1"/>
        </p:nvSpPr>
        <p:spPr>
          <a:xfrm>
            <a:off x="6211971" y="4065189"/>
            <a:ext cx="5504969"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077">
              <a:solidFill>
                <a:schemeClr val="bg1"/>
              </a:solidFill>
            </a:endParaRPr>
          </a:p>
        </p:txBody>
      </p:sp>
      <p:sp>
        <p:nvSpPr>
          <p:cNvPr id="8" name="Picture Placeholder 11"/>
          <p:cNvSpPr>
            <a:spLocks noGrp="1"/>
          </p:cNvSpPr>
          <p:nvPr>
            <p:ph type="pic" sz="quarter" idx="25" hasCustomPrompt="1"/>
          </p:nvPr>
        </p:nvSpPr>
        <p:spPr>
          <a:xfrm>
            <a:off x="494208" y="1880220"/>
            <a:ext cx="1942508" cy="1475999"/>
          </a:xfrm>
        </p:spPr>
        <p:txBody>
          <a:bodyPr/>
          <a:lstStyle>
            <a:lvl1pPr algn="ctr">
              <a:defRPr/>
            </a:lvl1pPr>
          </a:lstStyle>
          <a:p>
            <a:r>
              <a:rPr lang="en-AU"/>
              <a:t>Drag picture to placeholder or click icon to add</a:t>
            </a:r>
          </a:p>
        </p:txBody>
      </p:sp>
      <p:sp>
        <p:nvSpPr>
          <p:cNvPr id="9" name="Picture Placeholder 11"/>
          <p:cNvSpPr>
            <a:spLocks noGrp="1"/>
          </p:cNvSpPr>
          <p:nvPr>
            <p:ph type="pic" sz="quarter" idx="27" hasCustomPrompt="1"/>
          </p:nvPr>
        </p:nvSpPr>
        <p:spPr>
          <a:xfrm>
            <a:off x="6224087" y="1880220"/>
            <a:ext cx="1968000" cy="1475999"/>
          </a:xfrm>
        </p:spPr>
        <p:txBody>
          <a:bodyPr/>
          <a:lstStyle>
            <a:lvl1pPr algn="ctr">
              <a:defRPr/>
            </a:lvl1pPr>
          </a:lstStyle>
          <a:p>
            <a:r>
              <a:rPr lang="en-AU"/>
              <a:t>Drag picture to placeholder or click icon to add</a:t>
            </a:r>
          </a:p>
        </p:txBody>
      </p:sp>
      <p:sp>
        <p:nvSpPr>
          <p:cNvPr id="10" name="Picture Placeholder 11"/>
          <p:cNvSpPr>
            <a:spLocks noGrp="1"/>
          </p:cNvSpPr>
          <p:nvPr>
            <p:ph type="pic" sz="quarter" idx="29" hasCustomPrompt="1"/>
          </p:nvPr>
        </p:nvSpPr>
        <p:spPr>
          <a:xfrm>
            <a:off x="494207" y="4256221"/>
            <a:ext cx="1942510" cy="1475999"/>
          </a:xfrm>
        </p:spPr>
        <p:txBody>
          <a:bodyPr/>
          <a:lstStyle>
            <a:lvl1pPr algn="ctr">
              <a:defRPr/>
            </a:lvl1pPr>
          </a:lstStyle>
          <a:p>
            <a:r>
              <a:rPr lang="en-AU"/>
              <a:t>Drag picture to placeholder or click icon to add</a:t>
            </a:r>
          </a:p>
        </p:txBody>
      </p:sp>
      <p:sp>
        <p:nvSpPr>
          <p:cNvPr id="11" name="Picture Placeholder 11"/>
          <p:cNvSpPr>
            <a:spLocks noGrp="1"/>
          </p:cNvSpPr>
          <p:nvPr>
            <p:ph type="pic" sz="quarter" idx="31" hasCustomPrompt="1"/>
          </p:nvPr>
        </p:nvSpPr>
        <p:spPr>
          <a:xfrm>
            <a:off x="6224087" y="4256221"/>
            <a:ext cx="1968000" cy="1475999"/>
          </a:xfrm>
        </p:spPr>
        <p:txBody>
          <a:bodyPr/>
          <a:lstStyle>
            <a:lvl1pPr algn="ctr">
              <a:defRPr/>
            </a:lvl1pPr>
          </a:lstStyle>
          <a:p>
            <a:r>
              <a:rPr lang="en-AU"/>
              <a:t>Drag picture to placeholder or click icon to add</a:t>
            </a:r>
          </a:p>
        </p:txBody>
      </p:sp>
      <p:sp>
        <p:nvSpPr>
          <p:cNvPr id="13" name="Text Placeholder 12"/>
          <p:cNvSpPr>
            <a:spLocks noGrp="1"/>
          </p:cNvSpPr>
          <p:nvPr>
            <p:ph type="body" sz="quarter" idx="32" hasCustomPrompt="1"/>
          </p:nvPr>
        </p:nvSpPr>
        <p:spPr>
          <a:xfrm>
            <a:off x="2683487" y="1880213"/>
            <a:ext cx="3288001" cy="1944000"/>
          </a:xfrm>
        </p:spPr>
        <p:txBody>
          <a:bodyPr/>
          <a:lstStyle>
            <a:lvl1pPr>
              <a:spcAft>
                <a:spcPts val="0"/>
              </a:spcAft>
              <a:defRPr b="1"/>
            </a:lvl1pPr>
            <a:lvl2pPr>
              <a:spcAft>
                <a:spcPts val="0"/>
              </a:spcAft>
              <a:defRPr b="0"/>
            </a:lvl2pPr>
          </a:lstStyle>
          <a:p>
            <a:pPr lvl="0"/>
            <a:r>
              <a:rPr lang="en-AU"/>
              <a:t>Click to edit Master text styles</a:t>
            </a:r>
          </a:p>
          <a:p>
            <a:pPr lvl="1"/>
            <a:r>
              <a:rPr lang="en-AU"/>
              <a:t>Second level</a:t>
            </a:r>
          </a:p>
        </p:txBody>
      </p:sp>
      <p:sp>
        <p:nvSpPr>
          <p:cNvPr id="14" name="Text Placeholder 12"/>
          <p:cNvSpPr>
            <a:spLocks noGrp="1"/>
          </p:cNvSpPr>
          <p:nvPr>
            <p:ph type="body" sz="quarter" idx="33" hasCustomPrompt="1"/>
          </p:nvPr>
        </p:nvSpPr>
        <p:spPr>
          <a:xfrm>
            <a:off x="8396562" y="1880213"/>
            <a:ext cx="3306685" cy="1944000"/>
          </a:xfrm>
        </p:spPr>
        <p:txBody>
          <a:bodyPr/>
          <a:lstStyle>
            <a:lvl1pPr>
              <a:spcAft>
                <a:spcPts val="0"/>
              </a:spcAft>
              <a:defRPr b="1"/>
            </a:lvl1pPr>
            <a:lvl2pPr>
              <a:spcAft>
                <a:spcPts val="0"/>
              </a:spcAft>
              <a:defRPr b="0"/>
            </a:lvl2pPr>
          </a:lstStyle>
          <a:p>
            <a:pPr lvl="0"/>
            <a:r>
              <a:rPr lang="en-AU"/>
              <a:t>Click to edit Master text styles</a:t>
            </a:r>
          </a:p>
          <a:p>
            <a:pPr lvl="1"/>
            <a:r>
              <a:rPr lang="en-AU"/>
              <a:t>Second level</a:t>
            </a:r>
          </a:p>
        </p:txBody>
      </p:sp>
      <p:sp>
        <p:nvSpPr>
          <p:cNvPr id="15" name="Text Placeholder 12"/>
          <p:cNvSpPr>
            <a:spLocks noGrp="1"/>
          </p:cNvSpPr>
          <p:nvPr>
            <p:ph type="body" sz="quarter" idx="34" hasCustomPrompt="1"/>
          </p:nvPr>
        </p:nvSpPr>
        <p:spPr>
          <a:xfrm>
            <a:off x="2683487" y="4256213"/>
            <a:ext cx="3288001" cy="1944000"/>
          </a:xfrm>
        </p:spPr>
        <p:txBody>
          <a:bodyPr/>
          <a:lstStyle>
            <a:lvl1pPr>
              <a:spcAft>
                <a:spcPts val="0"/>
              </a:spcAft>
              <a:defRPr b="1"/>
            </a:lvl1pPr>
            <a:lvl2pPr>
              <a:spcAft>
                <a:spcPts val="0"/>
              </a:spcAft>
              <a:defRPr b="0"/>
            </a:lvl2pPr>
          </a:lstStyle>
          <a:p>
            <a:pPr lvl="0"/>
            <a:r>
              <a:rPr lang="en-AU"/>
              <a:t>Click to edit Master text styles</a:t>
            </a:r>
          </a:p>
          <a:p>
            <a:pPr lvl="1"/>
            <a:r>
              <a:rPr lang="en-AU"/>
              <a:t>Second level</a:t>
            </a:r>
          </a:p>
        </p:txBody>
      </p:sp>
      <p:sp>
        <p:nvSpPr>
          <p:cNvPr id="16" name="Text Placeholder 12"/>
          <p:cNvSpPr>
            <a:spLocks noGrp="1"/>
          </p:cNvSpPr>
          <p:nvPr>
            <p:ph type="body" sz="quarter" idx="35" hasCustomPrompt="1"/>
          </p:nvPr>
        </p:nvSpPr>
        <p:spPr>
          <a:xfrm>
            <a:off x="8396573" y="4256213"/>
            <a:ext cx="3299432" cy="1944000"/>
          </a:xfrm>
        </p:spPr>
        <p:txBody>
          <a:bodyPr/>
          <a:lstStyle>
            <a:lvl1pPr>
              <a:spcAft>
                <a:spcPts val="0"/>
              </a:spcAft>
              <a:defRPr b="1"/>
            </a:lvl1pPr>
            <a:lvl2pPr>
              <a:spcAft>
                <a:spcPts val="0"/>
              </a:spcAft>
              <a:defRPr b="0"/>
            </a:lvl2pPr>
          </a:lstStyle>
          <a:p>
            <a:pPr lvl="0"/>
            <a:r>
              <a:rPr lang="en-AU"/>
              <a:t>Click to edit Master text styles</a:t>
            </a:r>
          </a:p>
          <a:p>
            <a:pPr lvl="1"/>
            <a:r>
              <a:rPr lang="en-AU"/>
              <a:t>Second level</a:t>
            </a:r>
          </a:p>
        </p:txBody>
      </p:sp>
      <p:sp>
        <p:nvSpPr>
          <p:cNvPr id="17" name="Text Placeholder 8"/>
          <p:cNvSpPr>
            <a:spLocks noGrp="1"/>
          </p:cNvSpPr>
          <p:nvPr>
            <p:ph type="body" sz="quarter" idx="13" hasCustomPrompt="1"/>
          </p:nvPr>
        </p:nvSpPr>
        <p:spPr>
          <a:xfrm>
            <a:off x="494201" y="651612"/>
            <a:ext cx="11201795" cy="757254"/>
          </a:xfrm>
          <a:prstGeom prst="rect">
            <a:avLst/>
          </a:prstGeom>
        </p:spPr>
        <p:txBody>
          <a:bodyPr lIns="0" tIns="0" rIns="0" bIns="0">
            <a:noAutofit/>
          </a:bodyPr>
          <a:lstStyle>
            <a:lvl1pPr marL="0" indent="0">
              <a:buNone/>
              <a:defRPr sz="1808" b="0">
                <a:solidFill>
                  <a:srgbClr val="575757"/>
                </a:solidFill>
              </a:defRPr>
            </a:lvl1pPr>
          </a:lstStyle>
          <a:p>
            <a:pPr lvl="0"/>
            <a:r>
              <a:rPr lang="en-AU" noProof="0"/>
              <a:t>Click to add subtitle</a:t>
            </a:r>
          </a:p>
        </p:txBody>
      </p:sp>
      <p:sp>
        <p:nvSpPr>
          <p:cNvPr id="3" name="Footer Placeholder 2"/>
          <p:cNvSpPr>
            <a:spLocks noGrp="1"/>
          </p:cNvSpPr>
          <p:nvPr>
            <p:ph type="ftr" sz="quarter" idx="36"/>
          </p:nvPr>
        </p:nvSpPr>
        <p:spPr/>
        <p:txBody>
          <a:bodyPr/>
          <a:lstStyle/>
          <a:p>
            <a:endParaRPr lang="en-AU"/>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4263" y="317506"/>
            <a:ext cx="11201727" cy="334095"/>
          </a:xfrm>
        </p:spPr>
        <p:txBody>
          <a:bodyPr/>
          <a:lstStyle/>
          <a:p>
            <a:r>
              <a:rPr lang="en-AU"/>
              <a:t>Click to add title</a:t>
            </a:r>
            <a:endParaRPr lang="en-AU" noProof="0"/>
          </a:p>
        </p:txBody>
      </p:sp>
      <p:sp>
        <p:nvSpPr>
          <p:cNvPr id="4" name="Picture Placeholder 7"/>
          <p:cNvSpPr>
            <a:spLocks noGrp="1"/>
          </p:cNvSpPr>
          <p:nvPr>
            <p:ph type="pic" sz="quarter" idx="13" hasCustomPrompt="1"/>
          </p:nvPr>
        </p:nvSpPr>
        <p:spPr>
          <a:xfrm>
            <a:off x="503955" y="1700218"/>
            <a:ext cx="3655384" cy="1971674"/>
          </a:xfrm>
        </p:spPr>
        <p:txBody>
          <a:bodyPr/>
          <a:lstStyle/>
          <a:p>
            <a:r>
              <a:rPr lang="en-AU" noProof="0"/>
              <a:t>Drag picture to placeholder or click icon to add</a:t>
            </a:r>
          </a:p>
        </p:txBody>
      </p:sp>
      <p:sp>
        <p:nvSpPr>
          <p:cNvPr id="5" name="Picture Placeholder 7"/>
          <p:cNvSpPr>
            <a:spLocks noGrp="1"/>
          </p:cNvSpPr>
          <p:nvPr>
            <p:ph type="pic" sz="quarter" idx="14" hasCustomPrompt="1"/>
          </p:nvPr>
        </p:nvSpPr>
        <p:spPr>
          <a:xfrm>
            <a:off x="8047988" y="1700218"/>
            <a:ext cx="3655384" cy="1971674"/>
          </a:xfrm>
        </p:spPr>
        <p:txBody>
          <a:bodyPr/>
          <a:lstStyle/>
          <a:p>
            <a:r>
              <a:rPr lang="en-AU" noProof="0"/>
              <a:t>Drag picture to placeholder or click icon to add</a:t>
            </a:r>
          </a:p>
        </p:txBody>
      </p:sp>
      <p:sp>
        <p:nvSpPr>
          <p:cNvPr id="6" name="Picture Placeholder 7"/>
          <p:cNvSpPr>
            <a:spLocks noGrp="1"/>
          </p:cNvSpPr>
          <p:nvPr>
            <p:ph type="pic" sz="quarter" idx="15" hasCustomPrompt="1"/>
          </p:nvPr>
        </p:nvSpPr>
        <p:spPr>
          <a:xfrm>
            <a:off x="4275972" y="1700218"/>
            <a:ext cx="3655384" cy="1971674"/>
          </a:xfrm>
        </p:spPr>
        <p:txBody>
          <a:bodyPr/>
          <a:lstStyle/>
          <a:p>
            <a:r>
              <a:rPr lang="en-AU" noProof="0"/>
              <a:t>Drag picture to placeholder or click icon to add</a:t>
            </a:r>
          </a:p>
        </p:txBody>
      </p:sp>
      <p:sp>
        <p:nvSpPr>
          <p:cNvPr id="9" name="Text Placeholder 18"/>
          <p:cNvSpPr>
            <a:spLocks noGrp="1"/>
          </p:cNvSpPr>
          <p:nvPr>
            <p:ph idx="1" hasCustomPrompt="1"/>
          </p:nvPr>
        </p:nvSpPr>
        <p:spPr>
          <a:xfrm>
            <a:off x="503955" y="3832231"/>
            <a:ext cx="3655384" cy="2095200"/>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3" name="Text Placeholder 18"/>
          <p:cNvSpPr>
            <a:spLocks noGrp="1"/>
          </p:cNvSpPr>
          <p:nvPr>
            <p:ph idx="16" hasCustomPrompt="1"/>
          </p:nvPr>
        </p:nvSpPr>
        <p:spPr>
          <a:xfrm>
            <a:off x="4275972" y="3832231"/>
            <a:ext cx="3655384" cy="2095200"/>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4" name="Text Placeholder 18"/>
          <p:cNvSpPr>
            <a:spLocks noGrp="1"/>
          </p:cNvSpPr>
          <p:nvPr>
            <p:ph idx="17" hasCustomPrompt="1"/>
          </p:nvPr>
        </p:nvSpPr>
        <p:spPr>
          <a:xfrm>
            <a:off x="8047988" y="3832231"/>
            <a:ext cx="3655384" cy="2095200"/>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0" name="Text Placeholder 8"/>
          <p:cNvSpPr>
            <a:spLocks noGrp="1"/>
          </p:cNvSpPr>
          <p:nvPr>
            <p:ph type="body" sz="quarter" idx="18" hasCustomPrompt="1"/>
          </p:nvPr>
        </p:nvSpPr>
        <p:spPr>
          <a:xfrm>
            <a:off x="494201" y="651612"/>
            <a:ext cx="11201795" cy="757254"/>
          </a:xfrm>
          <a:prstGeom prst="rect">
            <a:avLst/>
          </a:prstGeom>
        </p:spPr>
        <p:txBody>
          <a:bodyPr lIns="0" tIns="0" rIns="0" bIns="0">
            <a:noAutofit/>
          </a:bodyPr>
          <a:lstStyle>
            <a:lvl1pPr marL="0" indent="0">
              <a:buNone/>
              <a:defRPr sz="1808" b="0">
                <a:solidFill>
                  <a:srgbClr val="575757"/>
                </a:solidFill>
              </a:defRPr>
            </a:lvl1pPr>
          </a:lstStyle>
          <a:p>
            <a:pPr lvl="0"/>
            <a:r>
              <a:rPr lang="en-AU" noProof="0"/>
              <a:t>Click to add subtitle</a:t>
            </a:r>
          </a:p>
        </p:txBody>
      </p:sp>
      <p:sp>
        <p:nvSpPr>
          <p:cNvPr id="3" name="Footer Placeholder 2"/>
          <p:cNvSpPr>
            <a:spLocks noGrp="1"/>
          </p:cNvSpPr>
          <p:nvPr>
            <p:ph type="ftr" sz="quarter" idx="19"/>
          </p:nvPr>
        </p:nvSpPr>
        <p:spPr/>
        <p:txBody>
          <a:bodyPr/>
          <a:lstStyle/>
          <a:p>
            <a:endParaRPr lang="en-AU"/>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27816" y="669500"/>
            <a:ext cx="11201795" cy="757252"/>
          </a:xfrm>
          <a:prstGeom prst="rect">
            <a:avLst/>
          </a:prstGeom>
        </p:spPr>
        <p:txBody>
          <a:bodyPr lIns="0" tIns="0" rIns="0" bIns="0">
            <a:noAutofit/>
          </a:bodyPr>
          <a:lstStyle>
            <a:lvl1pPr marL="0" indent="0">
              <a:buNone/>
              <a:defRPr sz="1808" b="0">
                <a:solidFill>
                  <a:srgbClr val="575757"/>
                </a:solidFill>
              </a:defRPr>
            </a:lvl1pPr>
          </a:lstStyle>
          <a:p>
            <a:pPr lvl="0"/>
            <a:r>
              <a:rPr lang="en-AU"/>
              <a:t>Click to add subtitle</a:t>
            </a:r>
          </a:p>
        </p:txBody>
      </p:sp>
      <p:sp>
        <p:nvSpPr>
          <p:cNvPr id="11" name="Title Placeholder 1"/>
          <p:cNvSpPr>
            <a:spLocks noGrp="1"/>
          </p:cNvSpPr>
          <p:nvPr>
            <p:ph type="title" hasCustomPrompt="1"/>
          </p:nvPr>
        </p:nvSpPr>
        <p:spPr>
          <a:xfrm>
            <a:off x="427816" y="365775"/>
            <a:ext cx="11201795" cy="334099"/>
          </a:xfrm>
          <a:prstGeom prst="rect">
            <a:avLst/>
          </a:prstGeom>
        </p:spPr>
        <p:txBody>
          <a:bodyPr vert="horz" lIns="0" tIns="0" rIns="0" bIns="0" rtlCol="0" anchor="t" anchorCtr="0">
            <a:noAutofit/>
          </a:bodyPr>
          <a:lstStyle>
            <a:lvl1pPr>
              <a:defRPr/>
            </a:lvl1pPr>
          </a:lstStyle>
          <a:p>
            <a:r>
              <a:rPr lang="en-AU"/>
              <a:t>Click to add title</a:t>
            </a:r>
          </a:p>
        </p:txBody>
      </p:sp>
      <p:sp>
        <p:nvSpPr>
          <p:cNvPr id="2" name="Footer Placeholder 1"/>
          <p:cNvSpPr>
            <a:spLocks noGrp="1"/>
          </p:cNvSpPr>
          <p:nvPr>
            <p:ph type="ftr" sz="quarter" idx="14"/>
          </p:nvPr>
        </p:nvSpPr>
        <p:spPr/>
        <p:txBody>
          <a:bodyPr/>
          <a:lstStyle/>
          <a:p>
            <a:endParaRPr lang="en-AU"/>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hasCustomPrompt="1"/>
          </p:nvPr>
        </p:nvSpPr>
        <p:spPr>
          <a:xfrm>
            <a:off x="511209" y="1857895"/>
            <a:ext cx="5486675" cy="1695450"/>
          </a:xfrm>
        </p:spPr>
        <p:txBody>
          <a:bodyPr/>
          <a:lstStyle>
            <a:lvl1pPr>
              <a:spcAft>
                <a:spcPts val="978"/>
              </a:spcAft>
              <a:defRPr b="1">
                <a:solidFill>
                  <a:schemeClr val="accent1"/>
                </a:solidFill>
              </a:defRPr>
            </a:lvl1pPr>
            <a:lvl2pPr>
              <a:spcAft>
                <a:spcPts val="978"/>
              </a:spcAft>
              <a:defRPr/>
            </a:lvl2pPr>
            <a:lvl3pPr marL="0" indent="0">
              <a:spcAft>
                <a:spcPts val="978"/>
              </a:spcAft>
              <a:buFont typeface="Arial" panose="020B0604020202020204" pitchFamily="34" charset="0"/>
              <a:buChar char="​"/>
              <a:defRPr/>
            </a:lvl3pPr>
            <a:lvl4pPr marL="172720" indent="-172720">
              <a:spcAft>
                <a:spcPts val="978"/>
              </a:spcAft>
              <a:buFont typeface="Arial" panose="020B0604020202020204" pitchFamily="34" charset="0"/>
              <a:buChar char="•"/>
              <a:defRPr/>
            </a:lvl4pPr>
            <a:lvl5pPr marL="348965" indent="-172720">
              <a:spcAft>
                <a:spcPts val="978"/>
              </a:spcAft>
              <a:defRPr baseline="0"/>
            </a:lvl5pPr>
            <a:lvl6pPr marL="348965" indent="-172720">
              <a:spcAft>
                <a:spcPts val="978"/>
              </a:spcAft>
              <a:buFont typeface="Verdana" panose="020B0604030504040204" pitchFamily="34" charset="0"/>
              <a:buChar char="−"/>
              <a:defRPr/>
            </a:lvl6pPr>
            <a:lvl7pPr marL="348965" indent="-172720">
              <a:spcAft>
                <a:spcPts val="978"/>
              </a:spcAft>
              <a:defRPr/>
            </a:lvl7pPr>
            <a:lvl8pPr marL="348965" indent="-172720">
              <a:spcAft>
                <a:spcPts val="978"/>
              </a:spcAft>
              <a:defRPr/>
            </a:lvl8pPr>
            <a:lvl9pPr marL="348965" indent="-172720">
              <a:spcAft>
                <a:spcPts val="978"/>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9" name="Text Placeholder 8"/>
          <p:cNvSpPr>
            <a:spLocks noGrp="1"/>
          </p:cNvSpPr>
          <p:nvPr>
            <p:ph type="body" sz="quarter" idx="21" hasCustomPrompt="1"/>
          </p:nvPr>
        </p:nvSpPr>
        <p:spPr>
          <a:xfrm>
            <a:off x="6205429" y="1857895"/>
            <a:ext cx="5490573" cy="1695450"/>
          </a:xfrm>
        </p:spPr>
        <p:txBody>
          <a:bodyPr/>
          <a:lstStyle>
            <a:lvl1pPr>
              <a:spcAft>
                <a:spcPts val="978"/>
              </a:spcAft>
              <a:defRPr b="1">
                <a:solidFill>
                  <a:schemeClr val="accent1"/>
                </a:solidFill>
              </a:defRPr>
            </a:lvl1pPr>
            <a:lvl2pPr>
              <a:spcAft>
                <a:spcPts val="978"/>
              </a:spcAft>
              <a:defRPr/>
            </a:lvl2pPr>
            <a:lvl3pPr marL="0" indent="0">
              <a:spcAft>
                <a:spcPts val="978"/>
              </a:spcAft>
              <a:buFont typeface="Arial" panose="020B0604020202020204" pitchFamily="34" charset="0"/>
              <a:buChar char="​"/>
              <a:defRPr/>
            </a:lvl3pPr>
            <a:lvl4pPr marL="172720" indent="-172720">
              <a:spcAft>
                <a:spcPts val="978"/>
              </a:spcAft>
              <a:buFont typeface="Arial" panose="020B0604020202020204" pitchFamily="34" charset="0"/>
              <a:buChar char="•"/>
              <a:defRPr/>
            </a:lvl4pPr>
            <a:lvl5pPr marL="348965" indent="-172720">
              <a:spcAft>
                <a:spcPts val="978"/>
              </a:spcAft>
              <a:defRPr baseline="0"/>
            </a:lvl5pPr>
            <a:lvl6pPr marL="348965" indent="-172720">
              <a:spcAft>
                <a:spcPts val="978"/>
              </a:spcAft>
              <a:buFont typeface="Verdana" panose="020B0604030504040204" pitchFamily="34" charset="0"/>
              <a:buChar char="−"/>
              <a:defRPr/>
            </a:lvl6pPr>
            <a:lvl7pPr marL="348965" indent="-172720">
              <a:spcAft>
                <a:spcPts val="978"/>
              </a:spcAft>
              <a:defRPr/>
            </a:lvl7pPr>
            <a:lvl8pPr marL="348965" indent="-172720">
              <a:spcAft>
                <a:spcPts val="978"/>
              </a:spcAft>
              <a:defRPr/>
            </a:lvl8pPr>
            <a:lvl9pPr marL="348965" indent="-172720">
              <a:spcAft>
                <a:spcPts val="978"/>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1" name="Content Placeholder 9"/>
          <p:cNvSpPr>
            <a:spLocks noGrp="1"/>
          </p:cNvSpPr>
          <p:nvPr>
            <p:ph sz="quarter" idx="23" hasCustomPrompt="1"/>
          </p:nvPr>
        </p:nvSpPr>
        <p:spPr>
          <a:xfrm>
            <a:off x="4629987" y="1852413"/>
            <a:ext cx="1354690" cy="653171"/>
          </a:xfrm>
        </p:spPr>
        <p:txBody>
          <a:bodyPr>
            <a:noAutofit/>
          </a:bodyPr>
          <a:lstStyle>
            <a:lvl1pPr algn="ctr">
              <a:defRPr sz="813" baseline="0"/>
            </a:lvl1pPr>
          </a:lstStyle>
          <a:p>
            <a:pPr lvl="0"/>
            <a:r>
              <a:rPr lang="en-AU"/>
              <a:t>Click here, go to INSERT tab and choose Pictures to insert Co-brand Logo</a:t>
            </a:r>
          </a:p>
        </p:txBody>
      </p:sp>
      <p:sp>
        <p:nvSpPr>
          <p:cNvPr id="12" name="Content Placeholder 10"/>
          <p:cNvSpPr>
            <a:spLocks noGrp="1"/>
          </p:cNvSpPr>
          <p:nvPr>
            <p:ph sz="quarter" idx="24" hasCustomPrompt="1"/>
          </p:nvPr>
        </p:nvSpPr>
        <p:spPr>
          <a:xfrm>
            <a:off x="10341311" y="1857892"/>
            <a:ext cx="1354690" cy="653171"/>
          </a:xfrm>
        </p:spPr>
        <p:txBody>
          <a:bodyPr>
            <a:noAutofit/>
          </a:bodyPr>
          <a:lstStyle>
            <a:lvl1pPr algn="ctr">
              <a:defRPr sz="813" baseline="0"/>
            </a:lvl1pPr>
          </a:lstStyle>
          <a:p>
            <a:pPr lvl="0"/>
            <a:r>
              <a:rPr lang="en-AU"/>
              <a:t>Click here, go to INSERT tab and choose Pictures to insert Co-brand Logo</a:t>
            </a:r>
          </a:p>
        </p:txBody>
      </p:sp>
      <p:sp>
        <p:nvSpPr>
          <p:cNvPr id="2" name="Title 1"/>
          <p:cNvSpPr>
            <a:spLocks noGrp="1"/>
          </p:cNvSpPr>
          <p:nvPr>
            <p:ph type="title" hasCustomPrompt="1"/>
          </p:nvPr>
        </p:nvSpPr>
        <p:spPr>
          <a:xfrm>
            <a:off x="494201" y="317506"/>
            <a:ext cx="11201795" cy="334095"/>
          </a:xfrm>
        </p:spPr>
        <p:txBody>
          <a:bodyPr/>
          <a:lstStyle/>
          <a:p>
            <a:r>
              <a:rPr lang="en-AU"/>
              <a:t>Click to add title</a:t>
            </a:r>
            <a:endParaRPr lang="en-AU" noProof="0"/>
          </a:p>
        </p:txBody>
      </p:sp>
      <p:sp>
        <p:nvSpPr>
          <p:cNvPr id="4" name="Rectangle 3"/>
          <p:cNvSpPr/>
          <p:nvPr userDrawn="1"/>
        </p:nvSpPr>
        <p:spPr>
          <a:xfrm>
            <a:off x="492914" y="1705386"/>
            <a:ext cx="5504969"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978"/>
              </a:spcAft>
            </a:pPr>
            <a:endParaRPr lang="en-AU" sz="1077" noProof="0">
              <a:solidFill>
                <a:schemeClr val="bg1"/>
              </a:solidFill>
            </a:endParaRPr>
          </a:p>
        </p:txBody>
      </p:sp>
      <p:sp>
        <p:nvSpPr>
          <p:cNvPr id="5" name="Rectangle 4"/>
          <p:cNvSpPr/>
          <p:nvPr userDrawn="1"/>
        </p:nvSpPr>
        <p:spPr>
          <a:xfrm>
            <a:off x="6205356" y="1705386"/>
            <a:ext cx="5504969"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978"/>
              </a:spcAft>
            </a:pPr>
            <a:endParaRPr lang="en-AU" sz="1077" noProof="0">
              <a:solidFill>
                <a:schemeClr val="bg1"/>
              </a:solidFill>
            </a:endParaRPr>
          </a:p>
        </p:txBody>
      </p:sp>
      <p:sp>
        <p:nvSpPr>
          <p:cNvPr id="16" name="Text Placeholder 8"/>
          <p:cNvSpPr>
            <a:spLocks noGrp="1"/>
          </p:cNvSpPr>
          <p:nvPr>
            <p:ph type="body" sz="quarter" idx="13" hasCustomPrompt="1"/>
          </p:nvPr>
        </p:nvSpPr>
        <p:spPr>
          <a:xfrm>
            <a:off x="494201" y="651612"/>
            <a:ext cx="11201795" cy="757254"/>
          </a:xfrm>
          <a:prstGeom prst="rect">
            <a:avLst/>
          </a:prstGeom>
        </p:spPr>
        <p:txBody>
          <a:bodyPr lIns="0" tIns="0" rIns="0" bIns="0">
            <a:noAutofit/>
          </a:bodyPr>
          <a:lstStyle>
            <a:lvl1pPr marL="0" indent="0">
              <a:buNone/>
              <a:defRPr sz="1808" b="0">
                <a:solidFill>
                  <a:srgbClr val="575757"/>
                </a:solidFill>
              </a:defRPr>
            </a:lvl1pPr>
          </a:lstStyle>
          <a:p>
            <a:pPr lvl="0"/>
            <a:r>
              <a:rPr lang="en-AU" noProof="0"/>
              <a:t>Click to add subtitle</a:t>
            </a:r>
          </a:p>
        </p:txBody>
      </p:sp>
      <p:sp>
        <p:nvSpPr>
          <p:cNvPr id="3" name="Footer Placeholder 2"/>
          <p:cNvSpPr>
            <a:spLocks noGrp="1"/>
          </p:cNvSpPr>
          <p:nvPr>
            <p:ph type="ftr" sz="quarter" idx="22"/>
          </p:nvPr>
        </p:nvSpPr>
        <p:spPr/>
        <p:txBody>
          <a:bodyPr/>
          <a:lstStyle/>
          <a:p>
            <a:endParaRPr lang="en-AU"/>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18" name="Text Placeholder 8"/>
          <p:cNvSpPr>
            <a:spLocks noGrp="1"/>
          </p:cNvSpPr>
          <p:nvPr>
            <p:ph type="body" sz="quarter" idx="17" hasCustomPrompt="1"/>
          </p:nvPr>
        </p:nvSpPr>
        <p:spPr>
          <a:xfrm>
            <a:off x="492914" y="1857895"/>
            <a:ext cx="5504969" cy="1695450"/>
          </a:xfrm>
        </p:spPr>
        <p:txBody>
          <a:bodyPr/>
          <a:lstStyle>
            <a:lvl1pPr>
              <a:spcAft>
                <a:spcPts val="978"/>
              </a:spcAft>
              <a:defRPr b="1">
                <a:solidFill>
                  <a:schemeClr val="accent1"/>
                </a:solidFill>
              </a:defRPr>
            </a:lvl1pPr>
            <a:lvl2pPr>
              <a:spcAft>
                <a:spcPts val="978"/>
              </a:spcAft>
              <a:defRPr/>
            </a:lvl2pPr>
            <a:lvl3pPr marL="0" indent="0">
              <a:spcAft>
                <a:spcPts val="978"/>
              </a:spcAft>
              <a:buFont typeface="Arial" panose="020B0604020202020204" pitchFamily="34" charset="0"/>
              <a:buChar char="​"/>
              <a:defRPr/>
            </a:lvl3pPr>
            <a:lvl4pPr marL="172720" indent="-172720">
              <a:spcAft>
                <a:spcPts val="978"/>
              </a:spcAft>
              <a:buFont typeface="Arial" panose="020B0604020202020204" pitchFamily="34" charset="0"/>
              <a:buChar char="•"/>
              <a:defRPr/>
            </a:lvl4pPr>
            <a:lvl5pPr marL="348965" indent="-172720">
              <a:spcAft>
                <a:spcPts val="978"/>
              </a:spcAft>
              <a:defRPr baseline="0"/>
            </a:lvl5pPr>
            <a:lvl6pPr marL="348965" indent="-172720">
              <a:spcAft>
                <a:spcPts val="978"/>
              </a:spcAft>
              <a:buFont typeface="Verdana" panose="020B0604030504040204" pitchFamily="34" charset="0"/>
              <a:buChar char="−"/>
              <a:defRPr/>
            </a:lvl6pPr>
            <a:lvl7pPr marL="348965" indent="-172720">
              <a:spcAft>
                <a:spcPts val="978"/>
              </a:spcAft>
              <a:defRPr/>
            </a:lvl7pPr>
            <a:lvl8pPr marL="348965" indent="-172720">
              <a:spcAft>
                <a:spcPts val="978"/>
              </a:spcAft>
              <a:defRPr/>
            </a:lvl8pPr>
            <a:lvl9pPr marL="348965" indent="-172720">
              <a:spcAft>
                <a:spcPts val="978"/>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9" name="Text Placeholder 8"/>
          <p:cNvSpPr>
            <a:spLocks noGrp="1"/>
          </p:cNvSpPr>
          <p:nvPr>
            <p:ph type="body" sz="quarter" idx="21" hasCustomPrompt="1"/>
          </p:nvPr>
        </p:nvSpPr>
        <p:spPr>
          <a:xfrm>
            <a:off x="6205429" y="1857895"/>
            <a:ext cx="5490573" cy="1695450"/>
          </a:xfrm>
        </p:spPr>
        <p:txBody>
          <a:bodyPr/>
          <a:lstStyle>
            <a:lvl1pPr>
              <a:spcAft>
                <a:spcPts val="978"/>
              </a:spcAft>
              <a:defRPr b="1">
                <a:solidFill>
                  <a:schemeClr val="accent1"/>
                </a:solidFill>
              </a:defRPr>
            </a:lvl1pPr>
            <a:lvl2pPr>
              <a:spcAft>
                <a:spcPts val="978"/>
              </a:spcAft>
              <a:defRPr/>
            </a:lvl2pPr>
            <a:lvl3pPr marL="0" indent="0">
              <a:spcAft>
                <a:spcPts val="978"/>
              </a:spcAft>
              <a:buFont typeface="Arial" panose="020B0604020202020204" pitchFamily="34" charset="0"/>
              <a:buChar char="​"/>
              <a:defRPr/>
            </a:lvl3pPr>
            <a:lvl4pPr marL="172720" indent="-172720">
              <a:spcAft>
                <a:spcPts val="978"/>
              </a:spcAft>
              <a:buFont typeface="Arial" panose="020B0604020202020204" pitchFamily="34" charset="0"/>
              <a:buChar char="•"/>
              <a:defRPr/>
            </a:lvl4pPr>
            <a:lvl5pPr marL="348965" indent="-172720">
              <a:spcAft>
                <a:spcPts val="978"/>
              </a:spcAft>
              <a:defRPr baseline="0"/>
            </a:lvl5pPr>
            <a:lvl6pPr marL="348965" indent="-172720">
              <a:spcAft>
                <a:spcPts val="978"/>
              </a:spcAft>
              <a:buFont typeface="Verdana" panose="020B0604030504040204" pitchFamily="34" charset="0"/>
              <a:buChar char="−"/>
              <a:defRPr/>
            </a:lvl6pPr>
            <a:lvl7pPr marL="348965" indent="-172720">
              <a:spcAft>
                <a:spcPts val="978"/>
              </a:spcAft>
              <a:defRPr/>
            </a:lvl7pPr>
            <a:lvl8pPr marL="348965" indent="-172720">
              <a:spcAft>
                <a:spcPts val="978"/>
              </a:spcAft>
              <a:defRPr/>
            </a:lvl8pPr>
            <a:lvl9pPr marL="348965" indent="-172720">
              <a:spcAft>
                <a:spcPts val="978"/>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20" name="Title 1"/>
          <p:cNvSpPr>
            <a:spLocks noGrp="1"/>
          </p:cNvSpPr>
          <p:nvPr>
            <p:ph type="title"/>
          </p:nvPr>
        </p:nvSpPr>
        <p:spPr>
          <a:xfrm>
            <a:off x="494201" y="317506"/>
            <a:ext cx="11201795" cy="334095"/>
          </a:xfrm>
        </p:spPr>
        <p:txBody>
          <a:bodyPr/>
          <a:lstStyle/>
          <a:p>
            <a:r>
              <a:rPr lang="en-AU" noProof="0"/>
              <a:t>Click to edit Master title style</a:t>
            </a:r>
          </a:p>
        </p:txBody>
      </p:sp>
      <p:sp>
        <p:nvSpPr>
          <p:cNvPr id="21" name="Rectangle 20"/>
          <p:cNvSpPr/>
          <p:nvPr userDrawn="1"/>
        </p:nvSpPr>
        <p:spPr>
          <a:xfrm>
            <a:off x="492914" y="1705386"/>
            <a:ext cx="5504969"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978"/>
              </a:spcAft>
            </a:pPr>
            <a:endParaRPr lang="en-AU" sz="1077" noProof="0">
              <a:solidFill>
                <a:schemeClr val="bg1"/>
              </a:solidFill>
            </a:endParaRPr>
          </a:p>
        </p:txBody>
      </p:sp>
      <p:sp>
        <p:nvSpPr>
          <p:cNvPr id="22" name="Rectangle 21"/>
          <p:cNvSpPr/>
          <p:nvPr userDrawn="1"/>
        </p:nvSpPr>
        <p:spPr>
          <a:xfrm>
            <a:off x="6205356" y="1705386"/>
            <a:ext cx="5504969"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978"/>
              </a:spcAft>
            </a:pPr>
            <a:endParaRPr lang="en-AU" sz="1077" noProof="0">
              <a:solidFill>
                <a:schemeClr val="bg1"/>
              </a:solidFill>
            </a:endParaRPr>
          </a:p>
        </p:txBody>
      </p:sp>
      <p:sp>
        <p:nvSpPr>
          <p:cNvPr id="25" name="Text Placeholder 8"/>
          <p:cNvSpPr>
            <a:spLocks noGrp="1"/>
          </p:cNvSpPr>
          <p:nvPr>
            <p:ph type="body" sz="quarter" idx="13" hasCustomPrompt="1"/>
          </p:nvPr>
        </p:nvSpPr>
        <p:spPr>
          <a:xfrm>
            <a:off x="494201" y="651612"/>
            <a:ext cx="11201795" cy="757254"/>
          </a:xfrm>
          <a:prstGeom prst="rect">
            <a:avLst/>
          </a:prstGeom>
        </p:spPr>
        <p:txBody>
          <a:bodyPr lIns="0" tIns="0" rIns="0" bIns="0">
            <a:noAutofit/>
          </a:bodyPr>
          <a:lstStyle>
            <a:lvl1pPr marL="0" indent="0">
              <a:buNone/>
              <a:defRPr sz="1808" b="0">
                <a:solidFill>
                  <a:srgbClr val="575757"/>
                </a:solidFill>
              </a:defRPr>
            </a:lvl1pPr>
          </a:lstStyle>
          <a:p>
            <a:pPr lvl="0"/>
            <a:r>
              <a:rPr lang="en-AU" noProof="0"/>
              <a:t>Click to add subtitle</a:t>
            </a:r>
          </a:p>
        </p:txBody>
      </p:sp>
      <p:sp>
        <p:nvSpPr>
          <p:cNvPr id="26" name="Text Placeholder 8"/>
          <p:cNvSpPr>
            <a:spLocks noGrp="1"/>
          </p:cNvSpPr>
          <p:nvPr>
            <p:ph type="body" sz="quarter" idx="22" hasCustomPrompt="1"/>
          </p:nvPr>
        </p:nvSpPr>
        <p:spPr>
          <a:xfrm>
            <a:off x="492909" y="4164563"/>
            <a:ext cx="5514116" cy="1695450"/>
          </a:xfrm>
        </p:spPr>
        <p:txBody>
          <a:bodyPr/>
          <a:lstStyle>
            <a:lvl1pPr>
              <a:spcAft>
                <a:spcPts val="978"/>
              </a:spcAft>
              <a:defRPr b="1">
                <a:solidFill>
                  <a:schemeClr val="accent1"/>
                </a:solidFill>
              </a:defRPr>
            </a:lvl1pPr>
            <a:lvl2pPr>
              <a:spcAft>
                <a:spcPts val="978"/>
              </a:spcAft>
              <a:defRPr/>
            </a:lvl2pPr>
            <a:lvl3pPr marL="0" indent="0">
              <a:spcAft>
                <a:spcPts val="978"/>
              </a:spcAft>
              <a:buFont typeface="Arial" panose="020B0604020202020204" pitchFamily="34" charset="0"/>
              <a:buChar char="​"/>
              <a:defRPr/>
            </a:lvl3pPr>
            <a:lvl4pPr marL="172720" indent="-172720">
              <a:spcAft>
                <a:spcPts val="978"/>
              </a:spcAft>
              <a:buFont typeface="Arial" panose="020B0604020202020204" pitchFamily="34" charset="0"/>
              <a:buChar char="•"/>
              <a:defRPr/>
            </a:lvl4pPr>
            <a:lvl5pPr marL="348965" indent="-172720">
              <a:spcAft>
                <a:spcPts val="978"/>
              </a:spcAft>
              <a:defRPr baseline="0"/>
            </a:lvl5pPr>
            <a:lvl6pPr marL="348965" indent="-172720">
              <a:spcAft>
                <a:spcPts val="978"/>
              </a:spcAft>
              <a:buFont typeface="Verdana" panose="020B0604030504040204" pitchFamily="34" charset="0"/>
              <a:buChar char="−"/>
              <a:defRPr/>
            </a:lvl6pPr>
            <a:lvl7pPr marL="348965" indent="-172720">
              <a:spcAft>
                <a:spcPts val="978"/>
              </a:spcAft>
              <a:defRPr/>
            </a:lvl7pPr>
            <a:lvl8pPr marL="348965" indent="-172720">
              <a:spcAft>
                <a:spcPts val="978"/>
              </a:spcAft>
              <a:defRPr/>
            </a:lvl8pPr>
            <a:lvl9pPr marL="348965" indent="-172720">
              <a:spcAft>
                <a:spcPts val="978"/>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27" name="Text Placeholder 8"/>
          <p:cNvSpPr>
            <a:spLocks noGrp="1"/>
          </p:cNvSpPr>
          <p:nvPr>
            <p:ph type="body" sz="quarter" idx="23" hasCustomPrompt="1"/>
          </p:nvPr>
        </p:nvSpPr>
        <p:spPr>
          <a:xfrm>
            <a:off x="6198283" y="4164563"/>
            <a:ext cx="5506862" cy="1695450"/>
          </a:xfrm>
        </p:spPr>
        <p:txBody>
          <a:bodyPr/>
          <a:lstStyle>
            <a:lvl1pPr>
              <a:spcAft>
                <a:spcPts val="978"/>
              </a:spcAft>
              <a:defRPr b="1">
                <a:solidFill>
                  <a:schemeClr val="accent1"/>
                </a:solidFill>
              </a:defRPr>
            </a:lvl1pPr>
            <a:lvl2pPr>
              <a:spcAft>
                <a:spcPts val="978"/>
              </a:spcAft>
              <a:defRPr/>
            </a:lvl2pPr>
            <a:lvl3pPr marL="0" indent="0">
              <a:spcAft>
                <a:spcPts val="978"/>
              </a:spcAft>
              <a:buFont typeface="Arial" panose="020B0604020202020204" pitchFamily="34" charset="0"/>
              <a:buChar char="​"/>
              <a:defRPr/>
            </a:lvl3pPr>
            <a:lvl4pPr marL="172720" indent="-172720">
              <a:spcAft>
                <a:spcPts val="978"/>
              </a:spcAft>
              <a:buFont typeface="Arial" panose="020B0604020202020204" pitchFamily="34" charset="0"/>
              <a:buChar char="•"/>
              <a:defRPr/>
            </a:lvl4pPr>
            <a:lvl5pPr marL="348965" indent="-172720">
              <a:spcAft>
                <a:spcPts val="978"/>
              </a:spcAft>
              <a:defRPr baseline="0"/>
            </a:lvl5pPr>
            <a:lvl6pPr marL="348965" indent="-172720">
              <a:spcAft>
                <a:spcPts val="978"/>
              </a:spcAft>
              <a:buFont typeface="Verdana" panose="020B0604030504040204" pitchFamily="34" charset="0"/>
              <a:buChar char="−"/>
              <a:defRPr/>
            </a:lvl6pPr>
            <a:lvl7pPr marL="348965" indent="-172720">
              <a:spcAft>
                <a:spcPts val="978"/>
              </a:spcAft>
              <a:defRPr/>
            </a:lvl7pPr>
            <a:lvl8pPr marL="348965" indent="-172720">
              <a:spcAft>
                <a:spcPts val="978"/>
              </a:spcAft>
              <a:defRPr/>
            </a:lvl8pPr>
            <a:lvl9pPr marL="348965" indent="-172720">
              <a:spcAft>
                <a:spcPts val="978"/>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28" name="Rectangle 27"/>
          <p:cNvSpPr/>
          <p:nvPr userDrawn="1"/>
        </p:nvSpPr>
        <p:spPr>
          <a:xfrm>
            <a:off x="502061" y="4012062"/>
            <a:ext cx="5504969"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978"/>
              </a:spcAft>
            </a:pPr>
            <a:endParaRPr lang="en-AU" sz="1077" noProof="0">
              <a:solidFill>
                <a:schemeClr val="bg1"/>
              </a:solidFill>
            </a:endParaRPr>
          </a:p>
        </p:txBody>
      </p:sp>
      <p:sp>
        <p:nvSpPr>
          <p:cNvPr id="29" name="Rectangle 28"/>
          <p:cNvSpPr/>
          <p:nvPr userDrawn="1"/>
        </p:nvSpPr>
        <p:spPr>
          <a:xfrm>
            <a:off x="6214505" y="4012062"/>
            <a:ext cx="5504969"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978"/>
              </a:spcAft>
            </a:pPr>
            <a:endParaRPr lang="en-AU" sz="1077" noProof="0">
              <a:solidFill>
                <a:schemeClr val="bg1"/>
              </a:solidFill>
            </a:endParaRPr>
          </a:p>
        </p:txBody>
      </p:sp>
      <p:sp>
        <p:nvSpPr>
          <p:cNvPr id="2" name="Footer Placeholder 1"/>
          <p:cNvSpPr>
            <a:spLocks noGrp="1"/>
          </p:cNvSpPr>
          <p:nvPr>
            <p:ph type="ftr" sz="quarter" idx="26"/>
          </p:nvPr>
        </p:nvSpPr>
        <p:spPr/>
        <p:txBody>
          <a:bodyPr/>
          <a:lstStyle/>
          <a:p>
            <a:endParaRPr lang="en-AU"/>
          </a:p>
        </p:txBody>
      </p:sp>
      <p:sp>
        <p:nvSpPr>
          <p:cNvPr id="17" name="Content Placeholder 9"/>
          <p:cNvSpPr>
            <a:spLocks noGrp="1"/>
          </p:cNvSpPr>
          <p:nvPr>
            <p:ph sz="quarter" idx="27" hasCustomPrompt="1"/>
          </p:nvPr>
        </p:nvSpPr>
        <p:spPr>
          <a:xfrm>
            <a:off x="4629987" y="1852413"/>
            <a:ext cx="1354690" cy="653171"/>
          </a:xfrm>
        </p:spPr>
        <p:txBody>
          <a:bodyPr>
            <a:noAutofit/>
          </a:bodyPr>
          <a:lstStyle>
            <a:lvl1pPr algn="ctr">
              <a:defRPr sz="813" baseline="0"/>
            </a:lvl1pPr>
          </a:lstStyle>
          <a:p>
            <a:pPr lvl="0"/>
            <a:r>
              <a:rPr lang="en-AU"/>
              <a:t>Click here, go to INSERT tab and choose Pictures to insert Co-brand Logo</a:t>
            </a:r>
          </a:p>
        </p:txBody>
      </p:sp>
      <p:sp>
        <p:nvSpPr>
          <p:cNvPr id="32" name="Content Placeholder 10"/>
          <p:cNvSpPr>
            <a:spLocks noGrp="1"/>
          </p:cNvSpPr>
          <p:nvPr>
            <p:ph sz="quarter" idx="28" hasCustomPrompt="1"/>
          </p:nvPr>
        </p:nvSpPr>
        <p:spPr>
          <a:xfrm>
            <a:off x="10341311" y="1857892"/>
            <a:ext cx="1354690" cy="653171"/>
          </a:xfrm>
        </p:spPr>
        <p:txBody>
          <a:bodyPr>
            <a:noAutofit/>
          </a:bodyPr>
          <a:lstStyle>
            <a:lvl1pPr algn="ctr">
              <a:defRPr sz="813" baseline="0"/>
            </a:lvl1pPr>
          </a:lstStyle>
          <a:p>
            <a:pPr lvl="0"/>
            <a:r>
              <a:rPr lang="en-AU"/>
              <a:t>Click here, go to INSERT tab and choose Pictures to insert Co-brand Logo</a:t>
            </a:r>
          </a:p>
        </p:txBody>
      </p:sp>
      <p:sp>
        <p:nvSpPr>
          <p:cNvPr id="33" name="Content Placeholder 11"/>
          <p:cNvSpPr>
            <a:spLocks noGrp="1"/>
          </p:cNvSpPr>
          <p:nvPr>
            <p:ph sz="quarter" idx="29" hasCustomPrompt="1"/>
          </p:nvPr>
        </p:nvSpPr>
        <p:spPr>
          <a:xfrm>
            <a:off x="4629987" y="4164560"/>
            <a:ext cx="1354690" cy="653171"/>
          </a:xfrm>
        </p:spPr>
        <p:txBody>
          <a:bodyPr>
            <a:noAutofit/>
          </a:bodyPr>
          <a:lstStyle>
            <a:lvl1pPr algn="ctr">
              <a:defRPr sz="813" baseline="0"/>
            </a:lvl1pPr>
          </a:lstStyle>
          <a:p>
            <a:pPr lvl="0"/>
            <a:r>
              <a:rPr lang="en-AU"/>
              <a:t>Click here, go to INSERT tab and choose Pictures to insert Co-brand Logo</a:t>
            </a:r>
          </a:p>
        </p:txBody>
      </p:sp>
      <p:sp>
        <p:nvSpPr>
          <p:cNvPr id="34" name="Content Placeholder 12"/>
          <p:cNvSpPr>
            <a:spLocks noGrp="1"/>
          </p:cNvSpPr>
          <p:nvPr>
            <p:ph sz="quarter" idx="24" hasCustomPrompt="1"/>
          </p:nvPr>
        </p:nvSpPr>
        <p:spPr>
          <a:xfrm>
            <a:off x="10341311" y="4170039"/>
            <a:ext cx="1354690" cy="653171"/>
          </a:xfrm>
        </p:spPr>
        <p:txBody>
          <a:bodyPr>
            <a:noAutofit/>
          </a:bodyPr>
          <a:lstStyle>
            <a:lvl1pPr algn="ctr">
              <a:defRPr sz="813" baseline="0"/>
            </a:lvl1pPr>
          </a:lstStyle>
          <a:p>
            <a:pPr lvl="0"/>
            <a:r>
              <a:rPr lang="en-AU"/>
              <a:t>Click here, go to INSERT tab and choose Pictures to insert Co-brand Logo</a:t>
            </a: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494201" y="317501"/>
            <a:ext cx="11201795" cy="334101"/>
          </a:xfrm>
        </p:spPr>
        <p:txBody>
          <a:bodyPr/>
          <a:lstStyle/>
          <a:p>
            <a:r>
              <a:rPr lang="en-AU" noProof="0"/>
              <a:t>Click to edit Master title style</a:t>
            </a:r>
          </a:p>
        </p:txBody>
      </p:sp>
      <p:sp>
        <p:nvSpPr>
          <p:cNvPr id="4" name="Rectangle 3"/>
          <p:cNvSpPr/>
          <p:nvPr userDrawn="1"/>
        </p:nvSpPr>
        <p:spPr>
          <a:xfrm>
            <a:off x="4292564" y="1705982"/>
            <a:ext cx="36125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077" noProof="0">
              <a:solidFill>
                <a:schemeClr val="bg1"/>
              </a:solidFill>
            </a:endParaRPr>
          </a:p>
        </p:txBody>
      </p:sp>
      <p:sp>
        <p:nvSpPr>
          <p:cNvPr id="5" name="Rectangle 4"/>
          <p:cNvSpPr/>
          <p:nvPr userDrawn="1"/>
        </p:nvSpPr>
        <p:spPr>
          <a:xfrm>
            <a:off x="494200" y="1700225"/>
            <a:ext cx="3612507"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077" noProof="0">
              <a:solidFill>
                <a:schemeClr val="bg1"/>
              </a:solidFill>
            </a:endParaRPr>
          </a:p>
        </p:txBody>
      </p:sp>
      <p:sp>
        <p:nvSpPr>
          <p:cNvPr id="6" name="Rectangle 5"/>
          <p:cNvSpPr/>
          <p:nvPr userDrawn="1"/>
        </p:nvSpPr>
        <p:spPr>
          <a:xfrm>
            <a:off x="8087862" y="1705982"/>
            <a:ext cx="36125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077" noProof="0">
              <a:solidFill>
                <a:schemeClr val="bg1"/>
              </a:solidFill>
            </a:endParaRPr>
          </a:p>
        </p:txBody>
      </p:sp>
      <p:sp>
        <p:nvSpPr>
          <p:cNvPr id="7" name="Text Placeholder 8"/>
          <p:cNvSpPr>
            <a:spLocks noGrp="1"/>
          </p:cNvSpPr>
          <p:nvPr>
            <p:ph type="body" sz="quarter" idx="17" hasCustomPrompt="1"/>
          </p:nvPr>
        </p:nvSpPr>
        <p:spPr>
          <a:xfrm>
            <a:off x="4311401" y="1851451"/>
            <a:ext cx="3593676" cy="3845753"/>
          </a:xfrm>
        </p:spPr>
        <p:txBody>
          <a:bodyPr/>
          <a:lstStyle>
            <a:lvl1pPr>
              <a:defRPr b="1">
                <a:solidFill>
                  <a:schemeClr val="accent1"/>
                </a:solidFill>
              </a:defRPr>
            </a:lvl1pPr>
            <a:lvl2pPr>
              <a:spcAft>
                <a:spcPts val="978"/>
              </a:spcAft>
              <a:defRPr/>
            </a:lvl2pPr>
            <a:lvl3pPr marL="0" indent="0">
              <a:spcAft>
                <a:spcPts val="978"/>
              </a:spcAft>
              <a:buFont typeface="Arial" panose="020B0604020202020204" pitchFamily="34" charset="0"/>
              <a:buChar char="​"/>
              <a:defRPr/>
            </a:lvl3pPr>
            <a:lvl4pPr marL="172720" indent="-172720">
              <a:spcAft>
                <a:spcPts val="978"/>
              </a:spcAft>
              <a:buFont typeface="Arial" panose="020B0604020202020204" pitchFamily="34" charset="0"/>
              <a:buChar char="•"/>
              <a:defRPr/>
            </a:lvl4pPr>
            <a:lvl5pPr marL="348965" indent="-172720">
              <a:spcAft>
                <a:spcPts val="978"/>
              </a:spcAft>
              <a:defRPr baseline="0"/>
            </a:lvl5pPr>
            <a:lvl6pPr marL="348965" indent="-172720">
              <a:spcAft>
                <a:spcPts val="978"/>
              </a:spcAft>
              <a:buFont typeface="Verdana" panose="020B0604030504040204" pitchFamily="34" charset="0"/>
              <a:buChar char="−"/>
              <a:defRPr/>
            </a:lvl6pPr>
            <a:lvl7pPr marL="348965" indent="-172720">
              <a:spcAft>
                <a:spcPts val="978"/>
              </a:spcAft>
              <a:defRPr/>
            </a:lvl7pPr>
            <a:lvl8pPr marL="348965" indent="-172720">
              <a:spcAft>
                <a:spcPts val="978"/>
              </a:spcAft>
              <a:defRPr/>
            </a:lvl8pPr>
            <a:lvl9pPr marL="348965" indent="-172720">
              <a:spcAft>
                <a:spcPts val="978"/>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8" name="Text Placeholder 8"/>
          <p:cNvSpPr>
            <a:spLocks noGrp="1"/>
          </p:cNvSpPr>
          <p:nvPr>
            <p:ph type="body" sz="quarter" idx="18" hasCustomPrompt="1"/>
          </p:nvPr>
        </p:nvSpPr>
        <p:spPr>
          <a:xfrm>
            <a:off x="494203" y="1851451"/>
            <a:ext cx="3596955" cy="3845753"/>
          </a:xfrm>
        </p:spPr>
        <p:txBody>
          <a:bodyPr/>
          <a:lstStyle>
            <a:lvl1pPr>
              <a:defRPr b="1">
                <a:solidFill>
                  <a:schemeClr val="accent1"/>
                </a:solidFill>
              </a:defRPr>
            </a:lvl1pPr>
            <a:lvl2pPr>
              <a:spcAft>
                <a:spcPts val="978"/>
              </a:spcAft>
              <a:defRPr/>
            </a:lvl2pPr>
            <a:lvl3pPr marL="0" indent="0">
              <a:spcAft>
                <a:spcPts val="978"/>
              </a:spcAft>
              <a:buFont typeface="Arial" panose="020B0604020202020204" pitchFamily="34" charset="0"/>
              <a:buChar char="​"/>
              <a:defRPr/>
            </a:lvl3pPr>
            <a:lvl4pPr marL="172720" indent="-172720">
              <a:spcAft>
                <a:spcPts val="978"/>
              </a:spcAft>
              <a:buFont typeface="Arial" panose="020B0604020202020204" pitchFamily="34" charset="0"/>
              <a:buChar char="•"/>
              <a:defRPr/>
            </a:lvl4pPr>
            <a:lvl5pPr marL="348965" indent="-172720">
              <a:spcAft>
                <a:spcPts val="978"/>
              </a:spcAft>
              <a:defRPr baseline="0"/>
            </a:lvl5pPr>
            <a:lvl6pPr marL="348965" indent="-172720">
              <a:spcAft>
                <a:spcPts val="978"/>
              </a:spcAft>
              <a:buFont typeface="Verdana" panose="020B0604030504040204" pitchFamily="34" charset="0"/>
              <a:buChar char="−"/>
              <a:defRPr/>
            </a:lvl6pPr>
            <a:lvl7pPr marL="348965" indent="-172720">
              <a:spcAft>
                <a:spcPts val="978"/>
              </a:spcAft>
              <a:defRPr/>
            </a:lvl7pPr>
            <a:lvl8pPr marL="348965" indent="-172720">
              <a:spcAft>
                <a:spcPts val="978"/>
              </a:spcAft>
              <a:defRPr/>
            </a:lvl8pPr>
            <a:lvl9pPr marL="348965" indent="-172720">
              <a:spcAft>
                <a:spcPts val="978"/>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9" name="Text Placeholder 8"/>
          <p:cNvSpPr>
            <a:spLocks noGrp="1"/>
          </p:cNvSpPr>
          <p:nvPr>
            <p:ph type="body" sz="quarter" idx="19" hasCustomPrompt="1"/>
          </p:nvPr>
        </p:nvSpPr>
        <p:spPr>
          <a:xfrm>
            <a:off x="8099041" y="1851451"/>
            <a:ext cx="3596957" cy="3845753"/>
          </a:xfrm>
        </p:spPr>
        <p:txBody>
          <a:bodyPr/>
          <a:lstStyle>
            <a:lvl1pPr>
              <a:defRPr b="1">
                <a:solidFill>
                  <a:schemeClr val="accent1"/>
                </a:solidFill>
              </a:defRPr>
            </a:lvl1pPr>
            <a:lvl2pPr>
              <a:spcAft>
                <a:spcPts val="978"/>
              </a:spcAft>
              <a:defRPr/>
            </a:lvl2pPr>
            <a:lvl3pPr marL="0" indent="0">
              <a:spcAft>
                <a:spcPts val="978"/>
              </a:spcAft>
              <a:buFont typeface="Arial" panose="020B0604020202020204" pitchFamily="34" charset="0"/>
              <a:buChar char="​"/>
              <a:defRPr/>
            </a:lvl3pPr>
            <a:lvl4pPr marL="172720" indent="-172720">
              <a:spcAft>
                <a:spcPts val="978"/>
              </a:spcAft>
              <a:buFont typeface="Arial" panose="020B0604020202020204" pitchFamily="34" charset="0"/>
              <a:buChar char="•"/>
              <a:defRPr/>
            </a:lvl4pPr>
            <a:lvl5pPr marL="348965" indent="-172720">
              <a:spcAft>
                <a:spcPts val="978"/>
              </a:spcAft>
              <a:defRPr baseline="0"/>
            </a:lvl5pPr>
            <a:lvl6pPr marL="348965" indent="-172720">
              <a:spcAft>
                <a:spcPts val="978"/>
              </a:spcAft>
              <a:buFont typeface="Verdana" panose="020B0604030504040204" pitchFamily="34" charset="0"/>
              <a:buChar char="−"/>
              <a:defRPr/>
            </a:lvl6pPr>
            <a:lvl7pPr marL="348965" indent="-172720">
              <a:spcAft>
                <a:spcPts val="978"/>
              </a:spcAft>
              <a:defRPr/>
            </a:lvl7pPr>
            <a:lvl8pPr marL="348965" indent="-172720">
              <a:spcAft>
                <a:spcPts val="978"/>
              </a:spcAft>
              <a:defRPr/>
            </a:lvl8pPr>
            <a:lvl9pPr marL="348965" indent="-172720">
              <a:spcAft>
                <a:spcPts val="978"/>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0" name="Text Placeholder 8"/>
          <p:cNvSpPr>
            <a:spLocks noGrp="1"/>
          </p:cNvSpPr>
          <p:nvPr>
            <p:ph type="body" sz="quarter" idx="13" hasCustomPrompt="1"/>
          </p:nvPr>
        </p:nvSpPr>
        <p:spPr>
          <a:xfrm>
            <a:off x="501654" y="651612"/>
            <a:ext cx="11194341" cy="757254"/>
          </a:xfrm>
          <a:prstGeom prst="rect">
            <a:avLst/>
          </a:prstGeom>
        </p:spPr>
        <p:txBody>
          <a:bodyPr lIns="0" tIns="0" rIns="0" bIns="0">
            <a:noAutofit/>
          </a:bodyPr>
          <a:lstStyle>
            <a:lvl1pPr marL="0" indent="0">
              <a:buNone/>
              <a:defRPr sz="1808" b="0">
                <a:solidFill>
                  <a:srgbClr val="575757"/>
                </a:solidFill>
              </a:defRPr>
            </a:lvl1pPr>
          </a:lstStyle>
          <a:p>
            <a:pPr lvl="0"/>
            <a:r>
              <a:rPr lang="en-AU" noProof="0"/>
              <a:t>Click to add subtitle</a:t>
            </a:r>
          </a:p>
        </p:txBody>
      </p:sp>
      <p:sp>
        <p:nvSpPr>
          <p:cNvPr id="3" name="Footer Placeholder 2"/>
          <p:cNvSpPr>
            <a:spLocks noGrp="1"/>
          </p:cNvSpPr>
          <p:nvPr>
            <p:ph type="ftr" sz="quarter" idx="20"/>
          </p:nvPr>
        </p:nvSpPr>
        <p:spPr/>
        <p:txBody>
          <a:bodyPr/>
          <a:lstStyle/>
          <a:p>
            <a:endParaRPr lang="en-AU"/>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7" y="317503"/>
            <a:ext cx="11194340" cy="334099"/>
          </a:xfrm>
        </p:spPr>
        <p:txBody>
          <a:bodyPr/>
          <a:lstStyle/>
          <a:p>
            <a:r>
              <a:rPr lang="en-AU" noProof="0"/>
              <a:t>Click to edit Master title style</a:t>
            </a:r>
          </a:p>
        </p:txBody>
      </p:sp>
      <p:sp>
        <p:nvSpPr>
          <p:cNvPr id="4" name="Text Placeholder 8"/>
          <p:cNvSpPr>
            <a:spLocks noGrp="1"/>
          </p:cNvSpPr>
          <p:nvPr>
            <p:ph type="body" sz="quarter" idx="17" hasCustomPrompt="1"/>
          </p:nvPr>
        </p:nvSpPr>
        <p:spPr>
          <a:xfrm>
            <a:off x="529497" y="2556000"/>
            <a:ext cx="2592000" cy="3394800"/>
          </a:xfrm>
        </p:spPr>
        <p:txBody>
          <a:bodyPr/>
          <a:lstStyle>
            <a:lvl1pPr>
              <a:defRPr b="1">
                <a:solidFill>
                  <a:schemeClr val="accent1"/>
                </a:solidFill>
              </a:defRPr>
            </a:lvl1pPr>
            <a:lvl2pPr>
              <a:spcAft>
                <a:spcPts val="978"/>
              </a:spcAft>
              <a:defRPr/>
            </a:lvl2pPr>
            <a:lvl3pPr marL="0" indent="0">
              <a:spcAft>
                <a:spcPts val="978"/>
              </a:spcAft>
              <a:buFont typeface="Arial" panose="020B0604020202020204" pitchFamily="34" charset="0"/>
              <a:buChar char="​"/>
              <a:defRPr/>
            </a:lvl3pPr>
            <a:lvl4pPr marL="172720" indent="-172720">
              <a:spcAft>
                <a:spcPts val="978"/>
              </a:spcAft>
              <a:buFont typeface="Arial" panose="020B0604020202020204" pitchFamily="34" charset="0"/>
              <a:buChar char="•"/>
              <a:defRPr/>
            </a:lvl4pPr>
            <a:lvl5pPr marL="348965" indent="-172720">
              <a:spcAft>
                <a:spcPts val="978"/>
              </a:spcAft>
              <a:defRPr baseline="0"/>
            </a:lvl5pPr>
            <a:lvl6pPr marL="348965" indent="-172720">
              <a:spcAft>
                <a:spcPts val="978"/>
              </a:spcAft>
              <a:buFont typeface="Verdana" panose="020B0604030504040204" pitchFamily="34" charset="0"/>
              <a:buChar char="−"/>
              <a:defRPr/>
            </a:lvl6pPr>
            <a:lvl7pPr marL="348965" indent="-172720">
              <a:spcAft>
                <a:spcPts val="978"/>
              </a:spcAft>
              <a:defRPr/>
            </a:lvl7pPr>
            <a:lvl8pPr marL="348965" indent="-172720">
              <a:spcAft>
                <a:spcPts val="978"/>
              </a:spcAft>
              <a:defRPr/>
            </a:lvl8pPr>
            <a:lvl9pPr marL="348965" indent="-172720">
              <a:spcAft>
                <a:spcPts val="978"/>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5" name="Text Placeholder 8"/>
          <p:cNvSpPr>
            <a:spLocks noGrp="1"/>
          </p:cNvSpPr>
          <p:nvPr>
            <p:ph type="body" sz="quarter" idx="18" hasCustomPrompt="1"/>
          </p:nvPr>
        </p:nvSpPr>
        <p:spPr>
          <a:xfrm>
            <a:off x="9068561" y="2556000"/>
            <a:ext cx="2592000" cy="3394800"/>
          </a:xfrm>
        </p:spPr>
        <p:txBody>
          <a:bodyPr/>
          <a:lstStyle>
            <a:lvl1pPr>
              <a:defRPr b="1">
                <a:solidFill>
                  <a:schemeClr val="accent1"/>
                </a:solidFill>
              </a:defRPr>
            </a:lvl1pPr>
            <a:lvl2pPr>
              <a:spcAft>
                <a:spcPts val="978"/>
              </a:spcAft>
              <a:defRPr/>
            </a:lvl2pPr>
            <a:lvl3pPr marL="0" indent="0">
              <a:spcAft>
                <a:spcPts val="978"/>
              </a:spcAft>
              <a:buFont typeface="Arial" panose="020B0604020202020204" pitchFamily="34" charset="0"/>
              <a:buChar char="​"/>
              <a:defRPr/>
            </a:lvl3pPr>
            <a:lvl4pPr marL="172720" indent="-172720">
              <a:spcAft>
                <a:spcPts val="978"/>
              </a:spcAft>
              <a:buFont typeface="Arial" panose="020B0604020202020204" pitchFamily="34" charset="0"/>
              <a:buChar char="•"/>
              <a:defRPr/>
            </a:lvl4pPr>
            <a:lvl5pPr marL="348965" indent="-172720">
              <a:spcAft>
                <a:spcPts val="978"/>
              </a:spcAft>
              <a:defRPr baseline="0"/>
            </a:lvl5pPr>
            <a:lvl6pPr marL="348965" indent="-172720">
              <a:spcAft>
                <a:spcPts val="978"/>
              </a:spcAft>
              <a:buFont typeface="Verdana" panose="020B0604030504040204" pitchFamily="34" charset="0"/>
              <a:buChar char="−"/>
              <a:defRPr/>
            </a:lvl6pPr>
            <a:lvl7pPr marL="348965" indent="-172720">
              <a:spcAft>
                <a:spcPts val="978"/>
              </a:spcAft>
              <a:defRPr/>
            </a:lvl7pPr>
            <a:lvl8pPr marL="348965" indent="-172720">
              <a:spcAft>
                <a:spcPts val="978"/>
              </a:spcAft>
              <a:defRPr/>
            </a:lvl8pPr>
            <a:lvl9pPr marL="348965" indent="-172720">
              <a:spcAft>
                <a:spcPts val="978"/>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6" name="Text Placeholder 8"/>
          <p:cNvSpPr>
            <a:spLocks noGrp="1"/>
          </p:cNvSpPr>
          <p:nvPr>
            <p:ph type="body" sz="quarter" idx="19" hasCustomPrompt="1"/>
          </p:nvPr>
        </p:nvSpPr>
        <p:spPr>
          <a:xfrm>
            <a:off x="3375853" y="2556000"/>
            <a:ext cx="2592000" cy="3394800"/>
          </a:xfrm>
        </p:spPr>
        <p:txBody>
          <a:bodyPr/>
          <a:lstStyle>
            <a:lvl1pPr>
              <a:defRPr b="1">
                <a:solidFill>
                  <a:schemeClr val="accent1"/>
                </a:solidFill>
              </a:defRPr>
            </a:lvl1pPr>
            <a:lvl2pPr>
              <a:spcAft>
                <a:spcPts val="978"/>
              </a:spcAft>
              <a:defRPr/>
            </a:lvl2pPr>
            <a:lvl3pPr marL="0" indent="0">
              <a:spcAft>
                <a:spcPts val="978"/>
              </a:spcAft>
              <a:buFont typeface="Arial" panose="020B0604020202020204" pitchFamily="34" charset="0"/>
              <a:buChar char="​"/>
              <a:defRPr/>
            </a:lvl3pPr>
            <a:lvl4pPr marL="172720" indent="-172720">
              <a:spcAft>
                <a:spcPts val="978"/>
              </a:spcAft>
              <a:buFont typeface="Arial" panose="020B0604020202020204" pitchFamily="34" charset="0"/>
              <a:buChar char="•"/>
              <a:defRPr/>
            </a:lvl4pPr>
            <a:lvl5pPr marL="348965" indent="-172720">
              <a:spcAft>
                <a:spcPts val="978"/>
              </a:spcAft>
              <a:defRPr baseline="0"/>
            </a:lvl5pPr>
            <a:lvl6pPr marL="348965" indent="-172720">
              <a:spcAft>
                <a:spcPts val="978"/>
              </a:spcAft>
              <a:buFont typeface="Verdana" panose="020B0604030504040204" pitchFamily="34" charset="0"/>
              <a:buChar char="−"/>
              <a:defRPr/>
            </a:lvl6pPr>
            <a:lvl7pPr marL="348965" indent="-172720">
              <a:spcAft>
                <a:spcPts val="978"/>
              </a:spcAft>
              <a:defRPr/>
            </a:lvl7pPr>
            <a:lvl8pPr marL="348965" indent="-172720">
              <a:spcAft>
                <a:spcPts val="978"/>
              </a:spcAft>
              <a:defRPr/>
            </a:lvl8pPr>
            <a:lvl9pPr marL="348965" indent="-172720">
              <a:spcAft>
                <a:spcPts val="978"/>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7" name="Text Placeholder 8"/>
          <p:cNvSpPr>
            <a:spLocks noGrp="1"/>
          </p:cNvSpPr>
          <p:nvPr>
            <p:ph type="body" sz="quarter" idx="20" hasCustomPrompt="1"/>
          </p:nvPr>
        </p:nvSpPr>
        <p:spPr>
          <a:xfrm>
            <a:off x="6222206" y="2556000"/>
            <a:ext cx="2592000" cy="3394800"/>
          </a:xfrm>
        </p:spPr>
        <p:txBody>
          <a:bodyPr/>
          <a:lstStyle>
            <a:lvl1pPr>
              <a:defRPr b="1">
                <a:solidFill>
                  <a:schemeClr val="accent1"/>
                </a:solidFill>
              </a:defRPr>
            </a:lvl1pPr>
            <a:lvl2pPr>
              <a:spcAft>
                <a:spcPts val="978"/>
              </a:spcAft>
              <a:defRPr/>
            </a:lvl2pPr>
            <a:lvl3pPr marL="0" indent="0">
              <a:spcAft>
                <a:spcPts val="978"/>
              </a:spcAft>
              <a:buFont typeface="Arial" panose="020B0604020202020204" pitchFamily="34" charset="0"/>
              <a:buChar char="​"/>
              <a:defRPr/>
            </a:lvl3pPr>
            <a:lvl4pPr marL="172720" indent="-172720">
              <a:spcAft>
                <a:spcPts val="978"/>
              </a:spcAft>
              <a:buFont typeface="Arial" panose="020B0604020202020204" pitchFamily="34" charset="0"/>
              <a:buChar char="•"/>
              <a:defRPr/>
            </a:lvl4pPr>
            <a:lvl5pPr marL="348965" indent="-172720">
              <a:spcAft>
                <a:spcPts val="978"/>
              </a:spcAft>
              <a:defRPr baseline="0"/>
            </a:lvl5pPr>
            <a:lvl6pPr marL="348965" indent="-172720">
              <a:spcAft>
                <a:spcPts val="978"/>
              </a:spcAft>
              <a:buFont typeface="Verdana" panose="020B0604030504040204" pitchFamily="34" charset="0"/>
              <a:buChar char="−"/>
              <a:defRPr/>
            </a:lvl6pPr>
            <a:lvl7pPr marL="348965" indent="-172720">
              <a:spcAft>
                <a:spcPts val="978"/>
              </a:spcAft>
              <a:defRPr/>
            </a:lvl7pPr>
            <a:lvl8pPr marL="348965" indent="-172720">
              <a:spcAft>
                <a:spcPts val="978"/>
              </a:spcAft>
              <a:defRPr/>
            </a:lvl8pPr>
            <a:lvl9pPr marL="348965" indent="-172720">
              <a:spcAft>
                <a:spcPts val="978"/>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8" name="Text Placeholder 8"/>
          <p:cNvSpPr>
            <a:spLocks noGrp="1"/>
          </p:cNvSpPr>
          <p:nvPr>
            <p:ph type="body" sz="quarter" idx="13" hasCustomPrompt="1"/>
          </p:nvPr>
        </p:nvSpPr>
        <p:spPr>
          <a:xfrm>
            <a:off x="501657" y="651612"/>
            <a:ext cx="11194340" cy="757254"/>
          </a:xfrm>
          <a:prstGeom prst="rect">
            <a:avLst/>
          </a:prstGeom>
        </p:spPr>
        <p:txBody>
          <a:bodyPr lIns="0" tIns="0" rIns="0" bIns="0">
            <a:noAutofit/>
          </a:bodyPr>
          <a:lstStyle>
            <a:lvl1pPr marL="0" indent="0">
              <a:buNone/>
              <a:defRPr sz="1808" b="0">
                <a:solidFill>
                  <a:srgbClr val="575757"/>
                </a:solidFill>
              </a:defRPr>
            </a:lvl1pPr>
          </a:lstStyle>
          <a:p>
            <a:pPr lvl="0"/>
            <a:r>
              <a:rPr lang="en-AU" noProof="0"/>
              <a:t>Click to add subtitle</a:t>
            </a:r>
          </a:p>
        </p:txBody>
      </p:sp>
      <p:sp>
        <p:nvSpPr>
          <p:cNvPr id="3" name="Footer Placeholder 2"/>
          <p:cNvSpPr>
            <a:spLocks noGrp="1"/>
          </p:cNvSpPr>
          <p:nvPr>
            <p:ph type="ftr" sz="quarter" idx="21"/>
          </p:nvPr>
        </p:nvSpPr>
        <p:spPr/>
        <p:txBody>
          <a:bodyPr/>
          <a:lstStyle/>
          <a:p>
            <a:endParaRPr lang="en-AU"/>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494201" y="651612"/>
            <a:ext cx="11201795" cy="757254"/>
          </a:xfrm>
          <a:prstGeom prst="rect">
            <a:avLst/>
          </a:prstGeom>
        </p:spPr>
        <p:txBody>
          <a:bodyPr lIns="0" tIns="0" rIns="0" bIns="0">
            <a:noAutofit/>
          </a:bodyPr>
          <a:lstStyle>
            <a:lvl1pPr marL="0" indent="0">
              <a:buNone/>
              <a:defRPr sz="1808" b="0">
                <a:solidFill>
                  <a:srgbClr val="575757"/>
                </a:solidFill>
              </a:defRPr>
            </a:lvl1pPr>
          </a:lstStyle>
          <a:p>
            <a:pPr lvl="0"/>
            <a:r>
              <a:rPr lang="en-AU"/>
              <a:t>Click to add subtitle</a:t>
            </a:r>
          </a:p>
        </p:txBody>
      </p:sp>
      <p:sp>
        <p:nvSpPr>
          <p:cNvPr id="9" name="Title Placeholder 1"/>
          <p:cNvSpPr>
            <a:spLocks noGrp="1"/>
          </p:cNvSpPr>
          <p:nvPr>
            <p:ph type="title" hasCustomPrompt="1"/>
          </p:nvPr>
        </p:nvSpPr>
        <p:spPr>
          <a:xfrm>
            <a:off x="494201" y="317504"/>
            <a:ext cx="11201795" cy="334097"/>
          </a:xfrm>
          <a:prstGeom prst="rect">
            <a:avLst/>
          </a:prstGeom>
        </p:spPr>
        <p:txBody>
          <a:bodyPr vert="horz" lIns="0" tIns="0" rIns="0" bIns="0" rtlCol="0" anchor="t" anchorCtr="0">
            <a:noAutofit/>
          </a:bodyPr>
          <a:lstStyle>
            <a:lvl1pPr>
              <a:defRPr/>
            </a:lvl1pPr>
          </a:lstStyle>
          <a:p>
            <a:r>
              <a:rPr lang="en-AU"/>
              <a:t>Click to add title</a:t>
            </a:r>
          </a:p>
        </p:txBody>
      </p:sp>
      <p:sp>
        <p:nvSpPr>
          <p:cNvPr id="10" name="Text Placeholder 18"/>
          <p:cNvSpPr>
            <a:spLocks noGrp="1"/>
          </p:cNvSpPr>
          <p:nvPr>
            <p:ph idx="1" hasCustomPrompt="1"/>
          </p:nvPr>
        </p:nvSpPr>
        <p:spPr>
          <a:xfrm>
            <a:off x="494199" y="1665301"/>
            <a:ext cx="5601805" cy="4716463"/>
          </a:xfrm>
          <a:prstGeom prst="rect">
            <a:avLst/>
          </a:prstGeom>
        </p:spPr>
        <p:txBody>
          <a:bodyPr vert="horz" lIns="0" tIns="0" rIns="0" bIns="0" rtlCol="0">
            <a:noAutofit/>
          </a:body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2" name="Footer Placeholder 1"/>
          <p:cNvSpPr>
            <a:spLocks noGrp="1"/>
          </p:cNvSpPr>
          <p:nvPr>
            <p:ph type="ftr" sz="quarter" idx="14"/>
          </p:nvPr>
        </p:nvSpPr>
        <p:spPr/>
        <p:txBody>
          <a:bodyPr/>
          <a:lstStyle/>
          <a:p>
            <a:endParaRPr lang="en-AU"/>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94201" y="317517"/>
            <a:ext cx="11201795" cy="692149"/>
          </a:xfrm>
        </p:spPr>
        <p:txBody>
          <a:bodyPr/>
          <a:lstStyle/>
          <a:p>
            <a:r>
              <a:rPr lang="en-AU"/>
              <a:t>Click to edit Master title style</a:t>
            </a:r>
          </a:p>
        </p:txBody>
      </p:sp>
      <p:sp>
        <p:nvSpPr>
          <p:cNvPr id="3" name="Footer Placeholder 2"/>
          <p:cNvSpPr>
            <a:spLocks noGrp="1"/>
          </p:cNvSpPr>
          <p:nvPr>
            <p:ph type="ftr" sz="quarter" idx="10"/>
          </p:nvPr>
        </p:nvSpPr>
        <p:spPr/>
        <p:txBody>
          <a:bodyPr/>
          <a:lstStyle/>
          <a:p>
            <a:endParaRPr lang="en-AU"/>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solidFill>
          <a:schemeClr val="tx1"/>
        </a:solidFill>
        <a:effectLst/>
      </p:bgPr>
    </p:bg>
    <p:spTree>
      <p:nvGrpSpPr>
        <p:cNvPr id="1" name=""/>
        <p:cNvGrpSpPr/>
        <p:nvPr/>
      </p:nvGrpSpPr>
      <p:grpSpPr>
        <a:xfrm>
          <a:off x="0" y="0"/>
          <a:ext cx="0" cy="0"/>
          <a:chOff x="0" y="0"/>
          <a:chExt cx="0" cy="0"/>
        </a:xfrm>
      </p:grpSpPr>
      <p:sp>
        <p:nvSpPr>
          <p:cNvPr id="2" name="LAN_peProposalTitle"/>
          <p:cNvSpPr>
            <a:spLocks noGrp="1"/>
          </p:cNvSpPr>
          <p:nvPr>
            <p:ph type="ctrTitle" hasCustomPrompt="1"/>
          </p:nvPr>
        </p:nvSpPr>
        <p:spPr bwMode="gray">
          <a:xfrm>
            <a:off x="3548313" y="1363560"/>
            <a:ext cx="5095385" cy="4139999"/>
          </a:xfrm>
          <a:prstGeom prst="ellipse">
            <a:avLst/>
          </a:prstGeom>
          <a:ln w="25400">
            <a:solidFill>
              <a:schemeClr val="accent1"/>
            </a:solidFill>
          </a:ln>
        </p:spPr>
        <p:txBody>
          <a:bodyPr lIns="108000" tIns="108000" rIns="108000" bIns="108000" anchor="ctr" anchorCtr="0">
            <a:normAutofit/>
          </a:bodyPr>
          <a:lstStyle>
            <a:lvl1pPr algn="ctr">
              <a:lnSpc>
                <a:spcPts val="4098"/>
              </a:lnSpc>
              <a:defRPr sz="3707" b="0">
                <a:solidFill>
                  <a:schemeClr val="bg1"/>
                </a:solidFill>
                <a:latin typeface="+mj-lt"/>
                <a:ea typeface="Open Sans" panose="020B0606030504020204" pitchFamily="34" charset="0"/>
                <a:cs typeface="Open Sans" panose="020B0606030504020204" pitchFamily="34" charset="0"/>
              </a:defRPr>
            </a:lvl1pPr>
          </a:lstStyle>
          <a:p>
            <a:r>
              <a:rPr lang="en-AU" noProof="0"/>
              <a:t>Title runs here</a:t>
            </a:r>
          </a:p>
        </p:txBody>
      </p:sp>
      <p:sp>
        <p:nvSpPr>
          <p:cNvPr id="3" name="LAN_pePresentationSubtitle"/>
          <p:cNvSpPr>
            <a:spLocks noGrp="1"/>
          </p:cNvSpPr>
          <p:nvPr>
            <p:ph type="subTitle" idx="1" hasCustomPrompt="1"/>
          </p:nvPr>
        </p:nvSpPr>
        <p:spPr bwMode="gray">
          <a:xfrm>
            <a:off x="472095" y="5875276"/>
            <a:ext cx="5512581" cy="505645"/>
          </a:xfrm>
          <a:prstGeom prst="rect">
            <a:avLst/>
          </a:prstGeom>
        </p:spPr>
        <p:txBody>
          <a:bodyPr lIns="0" tIns="0" rIns="0" bIns="0">
            <a:noAutofit/>
          </a:bodyPr>
          <a:lstStyle>
            <a:lvl1pPr marL="0" indent="0" algn="l">
              <a:lnSpc>
                <a:spcPct val="100000"/>
              </a:lnSpc>
              <a:spcAft>
                <a:spcPts val="0"/>
              </a:spcAft>
              <a:buNone/>
              <a:defRPr sz="1627">
                <a:solidFill>
                  <a:schemeClr val="bg1"/>
                </a:solidFill>
              </a:defRPr>
            </a:lvl1pPr>
            <a:lvl2pPr marL="483161" indent="0" algn="ctr">
              <a:buNone/>
              <a:defRPr sz="2114"/>
            </a:lvl2pPr>
            <a:lvl3pPr marL="966321" indent="0" algn="ctr">
              <a:buNone/>
              <a:defRPr sz="1903"/>
            </a:lvl3pPr>
            <a:lvl4pPr marL="1449482" indent="0" algn="ctr">
              <a:buNone/>
              <a:defRPr sz="1690"/>
            </a:lvl4pPr>
            <a:lvl5pPr marL="1932640" indent="0" algn="ctr">
              <a:buNone/>
              <a:defRPr sz="1690"/>
            </a:lvl5pPr>
            <a:lvl6pPr marL="2415798" indent="0" algn="ctr">
              <a:buNone/>
              <a:defRPr sz="1690"/>
            </a:lvl6pPr>
            <a:lvl7pPr marL="2898960" indent="0" algn="ctr">
              <a:buNone/>
              <a:defRPr sz="1690"/>
            </a:lvl7pPr>
            <a:lvl8pPr marL="3382120" indent="0" algn="ctr">
              <a:buNone/>
              <a:defRPr sz="1690"/>
            </a:lvl8pPr>
            <a:lvl9pPr marL="3865283" indent="0" algn="ctr">
              <a:buNone/>
              <a:defRPr sz="1690"/>
            </a:lvl9pPr>
          </a:lstStyle>
          <a:p>
            <a:pPr lvl="0"/>
            <a:r>
              <a:rPr lang="en-AU"/>
              <a:t>Subtitle here two lines max</a:t>
            </a:r>
          </a:p>
        </p:txBody>
      </p:sp>
      <p:sp>
        <p:nvSpPr>
          <p:cNvPr id="5" name="Date_DateCustomA"/>
          <p:cNvSpPr>
            <a:spLocks noGrp="1"/>
          </p:cNvSpPr>
          <p:nvPr>
            <p:ph type="dt" sz="half" idx="13"/>
          </p:nvPr>
        </p:nvSpPr>
        <p:spPr>
          <a:xfrm>
            <a:off x="502587" y="6525512"/>
            <a:ext cx="5482085" cy="146521"/>
          </a:xfrm>
          <a:prstGeom prst="rect">
            <a:avLst/>
          </a:prstGeom>
        </p:spPr>
        <p:txBody>
          <a:bodyPr/>
          <a:lstStyle>
            <a:lvl1pPr>
              <a:defRPr>
                <a:solidFill>
                  <a:schemeClr val="bg1"/>
                </a:solidFill>
              </a:defRPr>
            </a:lvl1pPr>
          </a:lstStyle>
          <a:p>
            <a:r>
              <a:rPr lang="en-AU"/>
              <a:t>8 April 2022</a:t>
            </a:r>
          </a:p>
        </p:txBody>
      </p:sp>
      <p:sp>
        <p:nvSpPr>
          <p:cNvPr id="6" name="USR_Name"/>
          <p:cNvSpPr>
            <a:spLocks noGrp="1"/>
          </p:cNvSpPr>
          <p:nvPr>
            <p:ph type="body" sz="quarter" idx="14" hasCustomPrompt="1"/>
          </p:nvPr>
        </p:nvSpPr>
        <p:spPr>
          <a:xfrm>
            <a:off x="502587" y="6381314"/>
            <a:ext cx="5482085" cy="144201"/>
          </a:xfrm>
        </p:spPr>
        <p:txBody>
          <a:bodyPr/>
          <a:lstStyle>
            <a:lvl1pPr>
              <a:defRPr sz="905">
                <a:solidFill>
                  <a:schemeClr val="bg1"/>
                </a:solidFill>
              </a:defRPr>
            </a:lvl1pPr>
          </a:lstStyle>
          <a:p>
            <a:pPr lvl="0"/>
            <a:r>
              <a:rPr lang="en-AU"/>
              <a:t>Sheraan Underwood</a:t>
            </a:r>
          </a:p>
        </p:txBody>
      </p:sp>
      <p:pic>
        <p:nvPicPr>
          <p:cNvPr id="9" name="LogoFrontSlide">
            <a:extLst>
              <a:ext uri="{FF2B5EF4-FFF2-40B4-BE49-F238E27FC236}">
                <a16:creationId xmlns:a16="http://schemas.microsoft.com/office/drawing/2014/main" id="{7110F75B-22D9-40FB-A5F0-E3D2E2DCBB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1967" y="371084"/>
            <a:ext cx="2455405" cy="856232"/>
          </a:xfrm>
          <a:prstGeom prst="rect">
            <a:avLst/>
          </a:prstGeom>
        </p:spPr>
      </p:pic>
      <p:pic>
        <p:nvPicPr>
          <p:cNvPr id="1125861968" name="Secondary_Logo_White"/>
          <p:cNvPicPr>
            <a:picLocks noChangeAspect="1"/>
          </p:cNvPicPr>
          <p:nvPr/>
        </p:nvPicPr>
        <p:blipFill>
          <a:blip r:embed="rId3"/>
          <a:stretch>
            <a:fillRect/>
          </a:stretch>
        </p:blipFill>
        <p:spPr>
          <a:xfrm>
            <a:off x="9421265" y="6103888"/>
            <a:ext cx="2284817" cy="480081"/>
          </a:xfrm>
          <a:prstGeom prst="rect">
            <a:avLst/>
          </a:prstGeom>
        </p:spPr>
      </p:pic>
    </p:spTree>
    <p:extLst>
      <p:ext uri="{BB962C8B-B14F-4D97-AF65-F5344CB8AC3E}">
        <p14:creationId xmlns:p14="http://schemas.microsoft.com/office/powerpoint/2010/main" val="2716579201"/>
      </p:ext>
    </p:extLst>
  </p:cSld>
  <p:clrMapOvr>
    <a:masterClrMapping/>
  </p:clrMapOvr>
  <p:transition>
    <p:fade/>
  </p:transition>
  <p:hf hdr="0"/>
  <p:extLst>
    <p:ext uri="{DCECCB84-F9BA-43D5-87BE-67443E8EF086}">
      <p15:sldGuideLst xmlns:p15="http://schemas.microsoft.com/office/powerpoint/2012/main">
        <p15:guide id="1" orient="horz" pos="3708"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endParaRPr lang="en-AU"/>
          </a:p>
        </p:txBody>
      </p:sp>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341063" y="4211968"/>
            <a:ext cx="2354942" cy="1725449"/>
          </a:xfrm>
        </p:spPr>
        <p:txBody>
          <a:bodyPr anchor="ctr" anchorCtr="0"/>
          <a:lstStyle>
            <a:lvl1pPr algn="ctr">
              <a:defRPr sz="881"/>
            </a:lvl1pPr>
          </a:lstStyle>
          <a:p>
            <a:r>
              <a:rPr lang="en-AU" sz="881"/>
              <a:t>Insert sponsorship mark here</a:t>
            </a:r>
            <a:endParaRPr lang="en-AU"/>
          </a:p>
        </p:txBody>
      </p:sp>
      <p:sp>
        <p:nvSpPr>
          <p:cNvPr id="8" name="Text Placeholder 7"/>
          <p:cNvSpPr>
            <a:spLocks noGrp="1"/>
          </p:cNvSpPr>
          <p:nvPr>
            <p:ph type="body" sz="quarter" idx="15" hasCustomPrompt="1"/>
          </p:nvPr>
        </p:nvSpPr>
        <p:spPr>
          <a:xfrm>
            <a:off x="9341068" y="6018031"/>
            <a:ext cx="2354942" cy="363723"/>
          </a:xfrm>
        </p:spPr>
        <p:txBody>
          <a:bodyPr anchor="b" anchorCtr="0">
            <a:noAutofit/>
          </a:bodyPr>
          <a:lstStyle>
            <a:lvl1pPr>
              <a:lnSpc>
                <a:spcPct val="100000"/>
              </a:lnSpc>
              <a:defRPr sz="905"/>
            </a:lvl1pPr>
          </a:lstStyle>
          <a:p>
            <a:pPr lvl="0"/>
            <a:r>
              <a:rPr lang="en-AU"/>
              <a:t>Click to edit Master text styles</a:t>
            </a:r>
          </a:p>
        </p:txBody>
      </p:sp>
      <p:sp>
        <p:nvSpPr>
          <p:cNvPr id="2" name="Footer Placeholder 1"/>
          <p:cNvSpPr>
            <a:spLocks noGrp="1"/>
          </p:cNvSpPr>
          <p:nvPr>
            <p:ph type="ftr" sz="quarter" idx="16"/>
          </p:nvPr>
        </p:nvSpPr>
        <p:spPr/>
        <p:txBody>
          <a:bodyPr/>
          <a:lstStyle>
            <a:lvl1pPr>
              <a:defRPr>
                <a:solidFill>
                  <a:schemeClr val="bg1"/>
                </a:solidFill>
              </a:defRPr>
            </a:lvl1pPr>
          </a:lstStyle>
          <a:p>
            <a:endParaRPr lang="en-AU"/>
          </a:p>
        </p:txBody>
      </p:sp>
      <p:sp>
        <p:nvSpPr>
          <p:cNvPr id="19" name="LEG_proposalEnd"/>
          <p:cNvSpPr>
            <a:spLocks/>
          </p:cNvSpPr>
          <p:nvPr userDrawn="1"/>
        </p:nvSpPr>
        <p:spPr bwMode="auto">
          <a:xfrm>
            <a:off x="496056" y="3429014"/>
            <a:ext cx="8571938" cy="2952310"/>
          </a:xfrm>
          <a:prstGeom prst="rect">
            <a:avLst/>
          </a:prstGeom>
          <a:noFill/>
          <a:ln w="9525">
            <a:noFill/>
            <a:miter lim="800000"/>
            <a:headEnd/>
            <a:tailEnd/>
          </a:ln>
        </p:spPr>
        <p:txBody>
          <a:bodyPr lIns="0" tIns="0" rIns="0" bIns="0" anchor="b"/>
          <a:lstStyle/>
          <a:p>
            <a:pPr defTabSz="1050790">
              <a:spcAft>
                <a:spcPts val="0"/>
              </a:spcAft>
              <a:buClr>
                <a:schemeClr val="tx1"/>
              </a:buClr>
              <a:buSzPct val="80000"/>
              <a:buFont typeface="Wingdings" pitchFamily="2" charset="2"/>
              <a:buNone/>
            </a:pPr>
            <a:r>
              <a:rPr lang="en-AU" sz="813" noProof="1">
                <a:solidFill>
                  <a:schemeClr val="tx1"/>
                </a:solidFill>
              </a:rPr>
              <a:t>Deloitte Access Economics is Australia’s pre-eminent economics advisory practice and a member of Deloitte's global economics group. For more information, please visit our website: www.deloitte.com/au/deloitte-access-economics
Deloitte refers to one or more of Deloitte Touche Tohmatsu Limited (“DTTL”), its global network of member firms, and their related entities (collectively, the “Deloitte organis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www.deloitte.com/about to learn more.
Deloitte is a leading global provider of audit and assurance, consulting, financial advisory, risk advisory, tax and related services. Our global network of member firms and related entities in more than 150 countries and territories (collectively, the “Deloitte organisation” serves four out of five Fortune Global 500® companies. Learn how Deloitte’s approximately 312,000 people make an impact that matters at www.deloitte.com.
Deloitte Asia Pacific
Deloitte Asia Pacific Limited is a company limited by guarantee and a member firm of DTTL. Members of Deloitte Asia Pacific Limited and their related entities, each of which are separate and independent legal entities, provide services from more than 100 cities across the region, including Auckland, Bangkok, Beijing, Hanoi, Hong Kong, Jakarta, Kuala Lumpur, Manila, Melbourne, Osaka, Seoul, Shanghai, Singapore, Sydney, Taipei and Tokyo.
Deloitte Australia
The Australian partnership of Deloitte Touche Tohmatsu is a member of Deloitte Asia Pacific Limited and the Deloitte organisation. As one of Australia’s leading professional services firms, Deloitte Touche Tohmatsu and its affiliates provide audit, tax, consulting, risk advisory, and financial advisory services through approximately 8000 people across the country. Focused on the creation of value and growth, and known as an employer of choice for innovative human resources programs, we are dedicated to helping our clients and our people excel. For more information, please visit our web site at https://www2.deloitte.com/au/en.html.
Liability limited by a scheme approved under Professional Standards Legislation.
Member of Deloitte Asia Pacific Limited and the Deloitte organisation.
©2024 Deloitte Access Economics. Deloitte Touche Tohmatsu</a:t>
            </a:r>
          </a:p>
        </p:txBody>
      </p:sp>
      <p:pic>
        <p:nvPicPr>
          <p:cNvPr id="7" name="LogoDisclaimerSlide">
            <a:extLst>
              <a:ext uri="{FF2B5EF4-FFF2-40B4-BE49-F238E27FC236}">
                <a16:creationId xmlns:a16="http://schemas.microsoft.com/office/drawing/2014/main" id="{B0052873-FC27-4A18-A1A9-D48AE6705125}"/>
              </a:ext>
            </a:extLst>
          </p:cNvPr>
          <p:cNvPicPr>
            <a:picLocks noChangeAspect="1"/>
          </p:cNvPicPr>
          <p:nvPr userDrawn="1"/>
        </p:nvPicPr>
        <p:blipFill>
          <a:blip r:embed="rId2"/>
          <a:stretch>
            <a:fillRect/>
          </a:stretch>
        </p:blipFill>
        <p:spPr>
          <a:xfrm>
            <a:off x="431081" y="421297"/>
            <a:ext cx="2071253" cy="907907"/>
          </a:xfrm>
          <a:prstGeom prst="rect">
            <a:avLst/>
          </a:prstGeom>
        </p:spPr>
      </p:pic>
    </p:spTree>
    <p:extLst>
      <p:ext uri="{BB962C8B-B14F-4D97-AF65-F5344CB8AC3E}">
        <p14:creationId xmlns:p14="http://schemas.microsoft.com/office/powerpoint/2010/main" val="7328703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1_Title Slide - Black">
    <p:bg bwMode="gray">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962" y="1603"/>
          <a:ext cx="1955" cy="1587"/>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2" name="Object 1" hidden="1"/>
                      <p:cNvPicPr/>
                      <p:nvPr/>
                    </p:nvPicPr>
                    <p:blipFill>
                      <a:blip r:embed="rId5"/>
                      <a:stretch>
                        <a:fillRect/>
                      </a:stretch>
                    </p:blipFill>
                    <p:spPr>
                      <a:xfrm>
                        <a:off x="1962" y="1603"/>
                        <a:ext cx="1955"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a:xfrm>
            <a:off x="2505862" y="727199"/>
            <a:ext cx="7200000" cy="5400000"/>
          </a:xfrm>
          <a:prstGeom prst="rect">
            <a:avLst/>
          </a:prstGeom>
        </p:spPr>
        <p:txBody>
          <a:bodyPr/>
          <a:lstStyle>
            <a:lvl1pPr>
              <a:defRPr>
                <a:solidFill>
                  <a:schemeClr val="bg1"/>
                </a:solidFill>
              </a:defRPr>
            </a:lvl1pPr>
          </a:lstStyle>
          <a:p>
            <a:r>
              <a:rPr lang="en-US" noProof="0"/>
              <a:t>Click icon to add picture</a:t>
            </a:r>
          </a:p>
        </p:txBody>
      </p:sp>
      <p:sp>
        <p:nvSpPr>
          <p:cNvPr id="3" name="Subtitle 2"/>
          <p:cNvSpPr>
            <a:spLocks noGrp="1"/>
          </p:cNvSpPr>
          <p:nvPr>
            <p:ph type="subTitle" idx="1" hasCustomPrompt="1"/>
          </p:nvPr>
        </p:nvSpPr>
        <p:spPr bwMode="gray">
          <a:xfrm>
            <a:off x="504001" y="5864236"/>
            <a:ext cx="5592010" cy="505645"/>
          </a:xfrm>
          <a:prstGeom prst="rect">
            <a:avLst/>
          </a:prstGeom>
        </p:spPr>
        <p:txBody>
          <a:bodyPr lIns="0" tIns="0" rIns="0" bIns="0" anchor="b" anchorCtr="0">
            <a:noAutofit/>
          </a:bodyPr>
          <a:lstStyle>
            <a:lvl1pPr marL="0" indent="0" algn="l">
              <a:lnSpc>
                <a:spcPct val="100000"/>
              </a:lnSpc>
              <a:spcAft>
                <a:spcPts val="0"/>
              </a:spcAft>
              <a:buNone/>
              <a:defRPr sz="1755" b="1">
                <a:solidFill>
                  <a:schemeClr val="bg1"/>
                </a:solidFill>
              </a:defRPr>
            </a:lvl1pPr>
            <a:lvl2pPr marL="0" marR="0" indent="0" algn="l" defTabSz="892020" rtl="0" eaLnBrk="1" fontAlgn="auto" latinLnBrk="0" hangingPunct="1">
              <a:lnSpc>
                <a:spcPct val="100000"/>
              </a:lnSpc>
              <a:spcBef>
                <a:spcPts val="0"/>
              </a:spcBef>
              <a:spcAft>
                <a:spcPts val="0"/>
              </a:spcAft>
              <a:buClrTx/>
              <a:buSzPct val="100000"/>
              <a:buFont typeface="Arial"/>
              <a:buNone/>
              <a:tabLst/>
              <a:defRPr sz="1561" b="0">
                <a:solidFill>
                  <a:schemeClr val="bg1"/>
                </a:solidFill>
              </a:defRPr>
            </a:lvl2pPr>
            <a:lvl3pPr marL="0" indent="0" algn="l">
              <a:spcAft>
                <a:spcPts val="0"/>
              </a:spcAft>
              <a:buNone/>
              <a:defRPr sz="1561">
                <a:solidFill>
                  <a:schemeClr val="bg1"/>
                </a:solidFill>
              </a:defRPr>
            </a:lvl3pPr>
            <a:lvl4pPr marL="1338031" indent="0" algn="ctr">
              <a:buNone/>
              <a:defRPr sz="1561"/>
            </a:lvl4pPr>
            <a:lvl5pPr marL="1784040" indent="0" algn="ctr">
              <a:buNone/>
              <a:defRPr sz="1561"/>
            </a:lvl5pPr>
            <a:lvl6pPr marL="2230052" indent="0" algn="ctr">
              <a:buNone/>
              <a:defRPr sz="1561"/>
            </a:lvl6pPr>
            <a:lvl7pPr marL="2676062" indent="0" algn="ctr">
              <a:buNone/>
              <a:defRPr sz="1561"/>
            </a:lvl7pPr>
            <a:lvl8pPr marL="3122071" indent="0" algn="ctr">
              <a:buNone/>
              <a:defRPr sz="1561"/>
            </a:lvl8pPr>
            <a:lvl9pPr marL="3568081" indent="0" algn="ctr">
              <a:buNone/>
              <a:defRPr sz="1561"/>
            </a:lvl9pPr>
          </a:lstStyle>
          <a:p>
            <a:r>
              <a:rPr lang="en-US" noProof="0"/>
              <a:t>Click to edit Master title style</a:t>
            </a:r>
          </a:p>
          <a:p>
            <a:pPr marL="0" marR="0" lvl="1" indent="0" algn="l" defTabSz="892020" rtl="0" eaLnBrk="1" fontAlgn="auto" latinLnBrk="0" hangingPunct="1">
              <a:lnSpc>
                <a:spcPct val="100000"/>
              </a:lnSpc>
              <a:spcBef>
                <a:spcPts val="0"/>
              </a:spcBef>
              <a:spcAft>
                <a:spcPts val="0"/>
              </a:spcAft>
              <a:buClrTx/>
              <a:buSzPct val="100000"/>
              <a:buFont typeface="Arial"/>
              <a:buNone/>
              <a:tabLst/>
              <a:defRPr/>
            </a:pPr>
            <a:r>
              <a:rPr lang="en-US" noProof="0"/>
              <a:t>Click to edit Master subtitle style</a:t>
            </a:r>
          </a:p>
        </p:txBody>
      </p:sp>
      <p:sp>
        <p:nvSpPr>
          <p:cNvPr id="5" name="Text Placeholder 4"/>
          <p:cNvSpPr>
            <a:spLocks noGrp="1"/>
          </p:cNvSpPr>
          <p:nvPr>
            <p:ph type="body" sz="quarter" idx="10"/>
          </p:nvPr>
        </p:nvSpPr>
        <p:spPr>
          <a:xfrm>
            <a:off x="501656" y="6381755"/>
            <a:ext cx="5594351" cy="298451"/>
          </a:xfrm>
          <a:prstGeom prst="rect">
            <a:avLst/>
          </a:prstGeom>
        </p:spPr>
        <p:txBody>
          <a:bodyPr/>
          <a:lstStyle>
            <a:lvl1pPr>
              <a:spcAft>
                <a:spcPts val="0"/>
              </a:spcAft>
              <a:defRPr sz="975">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83421348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3708"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and Content 0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970CD0-696D-4313-96BA-4AA72C813BD0}"/>
              </a:ext>
            </a:extLst>
          </p:cNvPr>
          <p:cNvSpPr>
            <a:spLocks noGrp="1"/>
          </p:cNvSpPr>
          <p:nvPr>
            <p:ph type="title"/>
          </p:nvPr>
        </p:nvSpPr>
        <p:spPr>
          <a:xfrm>
            <a:off x="515938" y="499595"/>
            <a:ext cx="4937211" cy="1325563"/>
          </a:xfrm>
        </p:spPr>
        <p:txBody>
          <a:bodyPr lIns="0" tIns="0" rIns="0" bIns="0">
            <a:noAutofit/>
          </a:bodyPr>
          <a:lstStyle>
            <a:lvl1pPr>
              <a:defRPr sz="3200" b="1" cap="all" baseline="0"/>
            </a:lvl1pPr>
          </a:lstStyle>
          <a:p>
            <a:r>
              <a:rPr lang="en-US" noProof="0"/>
              <a:t>Click to edit Master title style</a:t>
            </a:r>
          </a:p>
        </p:txBody>
      </p:sp>
      <p:sp>
        <p:nvSpPr>
          <p:cNvPr id="3" name="Content Placeholder 2">
            <a:extLst>
              <a:ext uri="{FF2B5EF4-FFF2-40B4-BE49-F238E27FC236}">
                <a16:creationId xmlns:a16="http://schemas.microsoft.com/office/drawing/2014/main" id="{0FEE9886-36F0-4E06-A3A6-D8F00B0665A1}"/>
              </a:ext>
            </a:extLst>
          </p:cNvPr>
          <p:cNvSpPr>
            <a:spLocks noGrp="1"/>
          </p:cNvSpPr>
          <p:nvPr>
            <p:ph idx="1" hasCustomPrompt="1"/>
          </p:nvPr>
        </p:nvSpPr>
        <p:spPr>
          <a:xfrm>
            <a:off x="538960" y="1825625"/>
            <a:ext cx="4914189" cy="4351338"/>
          </a:xfrm>
        </p:spPr>
        <p:txBody>
          <a:bodyPr lIns="0" tIns="0" rIns="0" bIns="0">
            <a:noAutofit/>
          </a:bodyPr>
          <a:lstStyle>
            <a:lvl1pPr>
              <a:defRPr sz="2400"/>
            </a:lvl1pPr>
            <a:lvl2pPr>
              <a:defRPr sz="2000"/>
            </a:lvl2pPr>
            <a:lvl3pPr>
              <a:defRPr sz="1800"/>
            </a:lvl3pPr>
            <a:lvl4pPr>
              <a:defRPr sz="1600"/>
            </a:lvl4pPr>
            <a:lvl5pPr>
              <a:defRPr sz="160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Rectangle 13">
            <a:extLst>
              <a:ext uri="{FF2B5EF4-FFF2-40B4-BE49-F238E27FC236}">
                <a16:creationId xmlns:a16="http://schemas.microsoft.com/office/drawing/2014/main" id="{9D415693-E2CB-4DB4-B07C-2F96B0CAB302}"/>
              </a:ext>
            </a:extLst>
          </p:cNvPr>
          <p:cNvSpPr/>
          <p:nvPr userDrawn="1"/>
        </p:nvSpPr>
        <p:spPr>
          <a:xfrm>
            <a:off x="10407163" y="1458074"/>
            <a:ext cx="1784837" cy="4880927"/>
          </a:xfrm>
          <a:prstGeom prst="rect">
            <a:avLst/>
          </a:prstGeom>
          <a:solidFill>
            <a:srgbClr val="0076A8"/>
          </a:solidFill>
          <a:ln>
            <a:solidFill>
              <a:srgbClr val="0076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 name="Oval 3">
            <a:extLst>
              <a:ext uri="{FF2B5EF4-FFF2-40B4-BE49-F238E27FC236}">
                <a16:creationId xmlns:a16="http://schemas.microsoft.com/office/drawing/2014/main" id="{14C1BF67-E354-4E04-8F94-BABF2B7D1AFB}"/>
              </a:ext>
            </a:extLst>
          </p:cNvPr>
          <p:cNvSpPr/>
          <p:nvPr userDrawn="1"/>
        </p:nvSpPr>
        <p:spPr>
          <a:xfrm>
            <a:off x="6466716" y="1112585"/>
            <a:ext cx="5571908" cy="5571906"/>
          </a:xfrm>
          <a:prstGeom prst="ellipse">
            <a:avLst/>
          </a:prstGeom>
          <a:solidFill>
            <a:schemeClr val="bg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 name="Picture Placeholder 5">
            <a:extLst>
              <a:ext uri="{FF2B5EF4-FFF2-40B4-BE49-F238E27FC236}">
                <a16:creationId xmlns:a16="http://schemas.microsoft.com/office/drawing/2014/main" id="{FF6AC390-6F85-4B64-AE7A-E8E0D8FC89CF}"/>
              </a:ext>
            </a:extLst>
          </p:cNvPr>
          <p:cNvSpPr>
            <a:spLocks noGrp="1"/>
          </p:cNvSpPr>
          <p:nvPr>
            <p:ph type="pic" sz="quarter" idx="13"/>
          </p:nvPr>
        </p:nvSpPr>
        <p:spPr>
          <a:xfrm>
            <a:off x="6624284" y="1454153"/>
            <a:ext cx="4884848" cy="4884848"/>
          </a:xfrm>
          <a:prstGeom prst="ellipse">
            <a:avLst/>
          </a:prstGeom>
          <a:solidFill>
            <a:schemeClr val="bg1">
              <a:lumMod val="85000"/>
            </a:schemeClr>
          </a:solidFill>
        </p:spPr>
        <p:txBody>
          <a:bodyPr anchor="ctr"/>
          <a:lstStyle>
            <a:lvl1pPr marL="0" indent="0" algn="ctr">
              <a:buNone/>
              <a:defRPr/>
            </a:lvl1pPr>
          </a:lstStyle>
          <a:p>
            <a:r>
              <a:rPr lang="en-US" noProof="0"/>
              <a:t>Click icon to add picture</a:t>
            </a:r>
          </a:p>
        </p:txBody>
      </p:sp>
    </p:spTree>
    <p:extLst>
      <p:ext uri="{BB962C8B-B14F-4D97-AF65-F5344CB8AC3E}">
        <p14:creationId xmlns:p14="http://schemas.microsoft.com/office/powerpoint/2010/main" val="122066239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94AD6C-9D50-45E3-AD91-B5A3A4F1001B}"/>
              </a:ext>
            </a:extLst>
          </p:cNvPr>
          <p:cNvSpPr>
            <a:spLocks noGrp="1"/>
          </p:cNvSpPr>
          <p:nvPr>
            <p:ph type="title"/>
          </p:nvPr>
        </p:nvSpPr>
        <p:spPr>
          <a:xfrm>
            <a:off x="839788" y="365125"/>
            <a:ext cx="10515600" cy="1325563"/>
          </a:xfrm>
        </p:spPr>
        <p:txBody>
          <a:bodyPr/>
          <a:lstStyle/>
          <a:p>
            <a:r>
              <a:rPr lang="en-US"/>
              <a:t>Click to edit Master title style</a:t>
            </a:r>
            <a:endParaRPr lang="en-AU"/>
          </a:p>
        </p:txBody>
      </p:sp>
      <p:sp>
        <p:nvSpPr>
          <p:cNvPr id="3" name="Text Placeholder 2">
            <a:extLst>
              <a:ext uri="{FF2B5EF4-FFF2-40B4-BE49-F238E27FC236}">
                <a16:creationId xmlns:a16="http://schemas.microsoft.com/office/drawing/2014/main" id="{C0E08AC4-2D5F-41A9-A7CF-BFE76E9DE34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AF30A6A-9EC7-45DD-96A0-A2107CBC7F6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a:extLst>
              <a:ext uri="{FF2B5EF4-FFF2-40B4-BE49-F238E27FC236}">
                <a16:creationId xmlns:a16="http://schemas.microsoft.com/office/drawing/2014/main" id="{965DA1FB-0389-4DDF-948D-161D5A2D682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E62CAC8-3FDA-4653-AFB9-A6F7FF470E0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a:extLst>
              <a:ext uri="{FF2B5EF4-FFF2-40B4-BE49-F238E27FC236}">
                <a16:creationId xmlns:a16="http://schemas.microsoft.com/office/drawing/2014/main" id="{188B1388-53DC-42E9-ABE5-2ED34A9DDEF8}"/>
              </a:ext>
            </a:extLst>
          </p:cNvPr>
          <p:cNvSpPr>
            <a:spLocks noGrp="1"/>
          </p:cNvSpPr>
          <p:nvPr>
            <p:ph type="dt" sz="half" idx="10"/>
          </p:nvPr>
        </p:nvSpPr>
        <p:spPr>
          <a:xfrm>
            <a:off x="838200" y="6356350"/>
            <a:ext cx="2743200" cy="365125"/>
          </a:xfrm>
          <a:prstGeom prst="rect">
            <a:avLst/>
          </a:prstGeom>
        </p:spPr>
        <p:txBody>
          <a:bodyPr/>
          <a:lstStyle/>
          <a:p>
            <a:endParaRPr lang="en-AU"/>
          </a:p>
        </p:txBody>
      </p:sp>
      <p:sp>
        <p:nvSpPr>
          <p:cNvPr id="8" name="Footer Placeholder 7">
            <a:extLst>
              <a:ext uri="{FF2B5EF4-FFF2-40B4-BE49-F238E27FC236}">
                <a16:creationId xmlns:a16="http://schemas.microsoft.com/office/drawing/2014/main" id="{B92F99EA-62E9-4AD5-9CB9-14F733A20BDE}"/>
              </a:ext>
            </a:extLst>
          </p:cNvPr>
          <p:cNvSpPr>
            <a:spLocks noGrp="1"/>
          </p:cNvSpPr>
          <p:nvPr>
            <p:ph type="ftr" sz="quarter" idx="11"/>
          </p:nvPr>
        </p:nvSpPr>
        <p:spPr/>
        <p:txBody>
          <a:bodyPr/>
          <a:lstStyle/>
          <a:p>
            <a:endParaRPr lang="en-AU"/>
          </a:p>
        </p:txBody>
      </p:sp>
      <p:sp>
        <p:nvSpPr>
          <p:cNvPr id="9" name="Slide Number Placeholder 8">
            <a:extLst>
              <a:ext uri="{FF2B5EF4-FFF2-40B4-BE49-F238E27FC236}">
                <a16:creationId xmlns:a16="http://schemas.microsoft.com/office/drawing/2014/main" id="{DC823FB5-8BB5-4C8C-97A1-5E8A3377B54A}"/>
              </a:ext>
            </a:extLst>
          </p:cNvPr>
          <p:cNvSpPr>
            <a:spLocks noGrp="1"/>
          </p:cNvSpPr>
          <p:nvPr>
            <p:ph type="sldNum" sz="quarter" idx="12"/>
          </p:nvPr>
        </p:nvSpPr>
        <p:spPr/>
        <p:txBody>
          <a:bodyPr/>
          <a:lstStyle/>
          <a:p>
            <a:fld id="{54C41849-1B5F-4E06-B8E8-BE3444D94DAA}" type="slidenum">
              <a:rPr lang="en-AU" smtClean="0"/>
              <a:t>‹#›</a:t>
            </a:fld>
            <a:endParaRPr lang="en-AU"/>
          </a:p>
        </p:txBody>
      </p:sp>
    </p:spTree>
    <p:extLst>
      <p:ext uri="{BB962C8B-B14F-4D97-AF65-F5344CB8AC3E}">
        <p14:creationId xmlns:p14="http://schemas.microsoft.com/office/powerpoint/2010/main" val="7725627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Contents">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a:t>Click to add subtitle</a:t>
            </a:r>
          </a:p>
        </p:txBody>
      </p:sp>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marL="475188" indent="0">
              <a:buNone/>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Edit Master text styles</a:t>
            </a:r>
          </a:p>
          <a:p>
            <a:pPr lvl="1"/>
            <a:r>
              <a:rPr lang="en-AU"/>
              <a:t>Second level</a:t>
            </a:r>
          </a:p>
          <a:p>
            <a:pPr lvl="2"/>
            <a:r>
              <a:rPr lang="en-AU"/>
              <a:t>Third level</a:t>
            </a:r>
          </a:p>
          <a:p>
            <a:pPr lvl="3"/>
            <a:r>
              <a:rPr lang="en-AU"/>
              <a:t>Fourth level</a:t>
            </a:r>
          </a:p>
          <a:p>
            <a:pPr lvl="4"/>
            <a:r>
              <a:rPr lang="en-AU"/>
              <a:t>Fifth level</a:t>
            </a:r>
          </a:p>
        </p:txBody>
      </p:sp>
      <p:sp>
        <p:nvSpPr>
          <p:cNvPr id="2" name="Footer Placeholder"/>
          <p:cNvSpPr>
            <a:spLocks noGrp="1"/>
          </p:cNvSpPr>
          <p:nvPr>
            <p:ph type="ftr" sz="quarter" idx="14"/>
          </p:nvPr>
        </p:nvSpPr>
        <p:spPr/>
        <p:txBody>
          <a:bodyPr/>
          <a:lstStyle/>
          <a:p>
            <a:endParaRPr lang="en-AU"/>
          </a:p>
        </p:txBody>
      </p:sp>
    </p:spTree>
    <p:extLst>
      <p:ext uri="{BB962C8B-B14F-4D97-AF65-F5344CB8AC3E}">
        <p14:creationId xmlns:p14="http://schemas.microsoft.com/office/powerpoint/2010/main" val="84397121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11204" y="1705686"/>
            <a:ext cx="10513159" cy="1592403"/>
          </a:xfrm>
        </p:spPr>
        <p:txBody>
          <a:bodyPr anchor="b"/>
          <a:lstStyle>
            <a:lvl1pPr>
              <a:lnSpc>
                <a:spcPct val="95000"/>
              </a:lnSpc>
              <a:defRPr sz="3524"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p>
        </p:txBody>
      </p:sp>
      <p:sp>
        <p:nvSpPr>
          <p:cNvPr id="3" name="Text Placeholder 2"/>
          <p:cNvSpPr>
            <a:spLocks noGrp="1"/>
          </p:cNvSpPr>
          <p:nvPr>
            <p:ph type="body" idx="1" hasCustomPrompt="1"/>
          </p:nvPr>
        </p:nvSpPr>
        <p:spPr bwMode="gray">
          <a:xfrm>
            <a:off x="511204" y="3429001"/>
            <a:ext cx="10513159" cy="1566533"/>
          </a:xfrm>
        </p:spPr>
        <p:txBody>
          <a:bodyPr lIns="0" tIns="0" rIns="0" bIns="0">
            <a:noAutofit/>
          </a:bodyPr>
          <a:lstStyle>
            <a:lvl1pPr marL="0" indent="0">
              <a:lnSpc>
                <a:spcPct val="95000"/>
              </a:lnSpc>
              <a:spcAft>
                <a:spcPts val="0"/>
              </a:spcAft>
              <a:buNone/>
              <a:defRPr sz="3524">
                <a:solidFill>
                  <a:schemeClr val="tx1"/>
                </a:solidFill>
              </a:defRPr>
            </a:lvl1pPr>
            <a:lvl2pPr marL="447664" indent="0">
              <a:buNone/>
              <a:defRPr sz="1958">
                <a:solidFill>
                  <a:schemeClr val="tx1">
                    <a:tint val="75000"/>
                  </a:schemeClr>
                </a:solidFill>
              </a:defRPr>
            </a:lvl2pPr>
            <a:lvl3pPr marL="895328" indent="0">
              <a:buNone/>
              <a:defRPr sz="1764">
                <a:solidFill>
                  <a:schemeClr val="tx1">
                    <a:tint val="75000"/>
                  </a:schemeClr>
                </a:solidFill>
              </a:defRPr>
            </a:lvl3pPr>
            <a:lvl4pPr marL="1342990" indent="0">
              <a:buNone/>
              <a:defRPr sz="1566">
                <a:solidFill>
                  <a:schemeClr val="tx1">
                    <a:tint val="75000"/>
                  </a:schemeClr>
                </a:solidFill>
              </a:defRPr>
            </a:lvl4pPr>
            <a:lvl5pPr marL="1790655" indent="0">
              <a:buNone/>
              <a:defRPr sz="1566">
                <a:solidFill>
                  <a:schemeClr val="tx1">
                    <a:tint val="75000"/>
                  </a:schemeClr>
                </a:solidFill>
              </a:defRPr>
            </a:lvl5pPr>
            <a:lvl6pPr marL="2238316" indent="0">
              <a:buNone/>
              <a:defRPr sz="1566">
                <a:solidFill>
                  <a:schemeClr val="tx1">
                    <a:tint val="75000"/>
                  </a:schemeClr>
                </a:solidFill>
              </a:defRPr>
            </a:lvl6pPr>
            <a:lvl7pPr marL="2685981" indent="0">
              <a:buNone/>
              <a:defRPr sz="1566">
                <a:solidFill>
                  <a:schemeClr val="tx1">
                    <a:tint val="75000"/>
                  </a:schemeClr>
                </a:solidFill>
              </a:defRPr>
            </a:lvl7pPr>
            <a:lvl8pPr marL="3133643" indent="0">
              <a:buNone/>
              <a:defRPr sz="1566">
                <a:solidFill>
                  <a:schemeClr val="tx1">
                    <a:tint val="75000"/>
                  </a:schemeClr>
                </a:solidFill>
              </a:defRPr>
            </a:lvl8pPr>
            <a:lvl9pPr marL="3581307" indent="0">
              <a:buNone/>
              <a:defRPr sz="1566">
                <a:solidFill>
                  <a:schemeClr val="tx1">
                    <a:tint val="75000"/>
                  </a:schemeClr>
                </a:solidFill>
              </a:defRPr>
            </a:lvl9pPr>
          </a:lstStyle>
          <a:p>
            <a:pPr lvl="0"/>
            <a:r>
              <a:rPr lang="en-AU" noProof="0"/>
              <a:t>Click to edit Master text styles</a:t>
            </a:r>
          </a:p>
        </p:txBody>
      </p:sp>
      <p:sp>
        <p:nvSpPr>
          <p:cNvPr id="4" name="Footer Placeholder 3"/>
          <p:cNvSpPr>
            <a:spLocks noGrp="1"/>
          </p:cNvSpPr>
          <p:nvPr>
            <p:ph type="ftr" sz="quarter" idx="10"/>
          </p:nvPr>
        </p:nvSpPr>
        <p:spPr/>
        <p:txBody>
          <a:bodyPr/>
          <a:lstStyle/>
          <a:p>
            <a:endParaRPr lang="en-AU"/>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1"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78647" y="1628791"/>
            <a:ext cx="9314790" cy="4752531"/>
          </a:xfrm>
          <a:prstGeom prst="rect">
            <a:avLst/>
          </a:prstGeom>
        </p:spPr>
        <p:txBody>
          <a:bodyPr>
            <a:noAutofit/>
          </a:bodyPr>
          <a:lstStyle>
            <a:lvl1pPr>
              <a:spcBef>
                <a:spcPts val="3524"/>
              </a:spcBef>
              <a:defRPr sz="2154">
                <a:solidFill>
                  <a:schemeClr val="tx1"/>
                </a:solidFill>
              </a:defRPr>
            </a:lvl1pPr>
            <a:lvl2pPr marL="447664" indent="-447664">
              <a:defRPr sz="2938">
                <a:solidFill>
                  <a:schemeClr val="bg2"/>
                </a:solidFill>
              </a:defRPr>
            </a:lvl2pPr>
            <a:lvl3pPr>
              <a:defRPr sz="2938">
                <a:solidFill>
                  <a:schemeClr val="bg2"/>
                </a:solidFill>
              </a:defRPr>
            </a:lvl3pPr>
            <a:lvl4pPr>
              <a:defRPr sz="2938">
                <a:solidFill>
                  <a:schemeClr val="bg2"/>
                </a:solidFill>
              </a:defRPr>
            </a:lvl4pPr>
            <a:lvl5pPr>
              <a:defRPr sz="2938">
                <a:solidFill>
                  <a:schemeClr val="bg2"/>
                </a:solidFill>
              </a:defRPr>
            </a:lvl5pPr>
          </a:lstStyle>
          <a:p>
            <a:pPr lvl="0"/>
            <a:r>
              <a:rPr lang="en-AU" noProof="0"/>
              <a:t>Click to edit Master text styles</a:t>
            </a:r>
          </a:p>
        </p:txBody>
      </p:sp>
      <p:sp>
        <p:nvSpPr>
          <p:cNvPr id="2" name="Footer Placeholder 1"/>
          <p:cNvSpPr>
            <a:spLocks noGrp="1"/>
          </p:cNvSpPr>
          <p:nvPr>
            <p:ph type="ftr" sz="quarter" idx="11"/>
          </p:nvPr>
        </p:nvSpPr>
        <p:spPr/>
        <p:txBody>
          <a:bodyPr/>
          <a:lstStyle/>
          <a:p>
            <a:endParaRPr lang="en-AU"/>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8898846" y="384484"/>
            <a:ext cx="2798297" cy="1027760"/>
          </a:xfrm>
        </p:spPr>
        <p:txBody>
          <a:bodyPr/>
          <a:lstStyle>
            <a:lvl1pPr>
              <a:spcBef>
                <a:spcPts val="179"/>
              </a:spcBef>
              <a:defRPr sz="905">
                <a:solidFill>
                  <a:schemeClr val="tx1"/>
                </a:solidFill>
              </a:defRPr>
            </a:lvl1pPr>
            <a:lvl2pPr>
              <a:defRPr sz="950">
                <a:solidFill>
                  <a:schemeClr val="tx2"/>
                </a:solidFill>
              </a:defRPr>
            </a:lvl2pPr>
            <a:lvl3pPr>
              <a:defRPr sz="950">
                <a:solidFill>
                  <a:schemeClr val="tx2"/>
                </a:solidFill>
              </a:defRPr>
            </a:lvl3pPr>
            <a:lvl4pPr>
              <a:defRPr sz="905">
                <a:solidFill>
                  <a:schemeClr val="tx2"/>
                </a:solidFill>
              </a:defRPr>
            </a:lvl4pPr>
            <a:lvl5pPr>
              <a:defRPr sz="905">
                <a:solidFill>
                  <a:schemeClr val="tx2"/>
                </a:solidFill>
              </a:defRPr>
            </a:lvl5pPr>
          </a:lstStyle>
          <a:p>
            <a:pPr lvl="0"/>
            <a:r>
              <a:rPr lang="en-AU"/>
              <a:t>Click to edit Master text styles</a:t>
            </a:r>
          </a:p>
        </p:txBody>
      </p:sp>
      <p:sp>
        <p:nvSpPr>
          <p:cNvPr id="7" name="Text Placeholder 6"/>
          <p:cNvSpPr>
            <a:spLocks noGrp="1"/>
          </p:cNvSpPr>
          <p:nvPr>
            <p:ph type="body" sz="quarter" idx="11" hasCustomPrompt="1"/>
          </p:nvPr>
        </p:nvSpPr>
        <p:spPr>
          <a:xfrm>
            <a:off x="511202" y="1675457"/>
            <a:ext cx="2762350" cy="4656834"/>
          </a:xfrm>
        </p:spPr>
        <p:txBody>
          <a:bodyPr>
            <a:noAutofit/>
          </a:bodyPr>
          <a:lstStyle>
            <a:lvl1pPr>
              <a:spcBef>
                <a:spcPts val="0"/>
              </a:spcBef>
              <a:spcAft>
                <a:spcPts val="541"/>
              </a:spcAft>
              <a:defRPr sz="905"/>
            </a:lvl1pPr>
            <a:lvl2pPr>
              <a:spcBef>
                <a:spcPts val="271"/>
              </a:spcBef>
              <a:defRPr/>
            </a:lvl2pPr>
            <a:lvl3pPr>
              <a:spcBef>
                <a:spcPts val="271"/>
              </a:spcBef>
              <a:defRPr/>
            </a:lvl3pPr>
            <a:lvl4pPr>
              <a:spcBef>
                <a:spcPts val="271"/>
              </a:spcBef>
              <a:defRPr/>
            </a:lvl4pPr>
            <a:lvl5pPr>
              <a:spcBef>
                <a:spcPts val="271"/>
              </a:spcBef>
              <a:defRPr/>
            </a:lvl5pPr>
          </a:lstStyle>
          <a:p>
            <a:pPr lvl="0"/>
            <a:r>
              <a:rPr lang="en-AU"/>
              <a:t>Click to edit Master text styles</a:t>
            </a:r>
          </a:p>
        </p:txBody>
      </p:sp>
      <p:sp>
        <p:nvSpPr>
          <p:cNvPr id="9" name="Text Placeholder 8"/>
          <p:cNvSpPr>
            <a:spLocks noGrp="1"/>
          </p:cNvSpPr>
          <p:nvPr>
            <p:ph type="body" sz="quarter" idx="12" hasCustomPrompt="1"/>
          </p:nvPr>
        </p:nvSpPr>
        <p:spPr>
          <a:xfrm>
            <a:off x="3816967" y="1675466"/>
            <a:ext cx="7880182" cy="4657727"/>
          </a:xfrm>
        </p:spPr>
        <p:txBody>
          <a:bodyPr>
            <a:noAutofit/>
          </a:bodyPr>
          <a:lstStyle>
            <a:lvl1pPr>
              <a:spcBef>
                <a:spcPts val="1627"/>
              </a:spcBef>
              <a:defRPr sz="905"/>
            </a:lvl1pPr>
            <a:lvl2pPr>
              <a:defRPr sz="905"/>
            </a:lvl2pPr>
            <a:lvl3pPr>
              <a:defRPr sz="905"/>
            </a:lvl3pPr>
            <a:lvl4pPr>
              <a:defRPr sz="905"/>
            </a:lvl4pPr>
            <a:lvl5pPr>
              <a:defRPr sz="905"/>
            </a:lvl5pPr>
            <a:lvl6pPr marL="348965" indent="0">
              <a:buNone/>
              <a:defRPr/>
            </a:lvl6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2" name="Footer Placeholder 1" hidden="1"/>
          <p:cNvSpPr>
            <a:spLocks noGrp="1"/>
          </p:cNvSpPr>
          <p:nvPr>
            <p:ph type="ftr" sz="quarter" idx="13"/>
          </p:nvPr>
        </p:nvSpPr>
        <p:spPr/>
        <p:txBody>
          <a:bodyPr/>
          <a:lstStyle>
            <a:lvl1pPr>
              <a:defRPr>
                <a:solidFill>
                  <a:schemeClr val="bg1"/>
                </a:solidFill>
              </a:defRPr>
            </a:lvl1pPr>
          </a:lstStyle>
          <a:p>
            <a:endParaRPr lang="en-AU"/>
          </a:p>
        </p:txBody>
      </p:sp>
      <p:pic>
        <p:nvPicPr>
          <p:cNvPr id="633459501" name="LogoDisclaimerSlide"/>
          <p:cNvPicPr>
            <a:picLocks noChangeAspect="1"/>
          </p:cNvPicPr>
          <p:nvPr/>
        </p:nvPicPr>
        <p:blipFill>
          <a:blip r:embed="rId2"/>
          <a:stretch>
            <a:fillRect/>
          </a:stretch>
        </p:blipFill>
        <p:spPr>
          <a:xfrm>
            <a:off x="472092" y="359248"/>
            <a:ext cx="1891822" cy="659704"/>
          </a:xfrm>
          <a:prstGeom prst="rect">
            <a:avLst/>
          </a:prstGeom>
        </p:spPr>
      </p:pic>
    </p:spTree>
    <p:extLst>
      <p:ext uri="{BB962C8B-B14F-4D97-AF65-F5344CB8AC3E}">
        <p14:creationId xmlns:p14="http://schemas.microsoft.com/office/powerpoint/2010/main" val="228412012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hasCustomPrompt="1"/>
          </p:nvPr>
        </p:nvSpPr>
        <p:spPr>
          <a:xfrm>
            <a:off x="492620" y="1665301"/>
            <a:ext cx="9300811" cy="4716463"/>
          </a:xfrm>
          <a:prstGeom prst="rect">
            <a:avLst/>
          </a:prstGeom>
        </p:spPr>
        <p:txBody>
          <a:bodyPr/>
          <a:lstStyle>
            <a:lvl1pPr>
              <a:tabLst>
                <a:tab pos="6589047" algn="r"/>
              </a:tabLst>
              <a:defRPr/>
            </a:lvl1pPr>
            <a:lvl2pPr>
              <a:tabLst>
                <a:tab pos="6589047" algn="r"/>
              </a:tabLst>
              <a:defRPr/>
            </a:lvl2pPr>
            <a:lvl3pPr>
              <a:tabLst>
                <a:tab pos="6589047" algn="r"/>
              </a:tabLst>
              <a:defRPr/>
            </a:lvl3pPr>
            <a:lvl4pPr>
              <a:tabLst>
                <a:tab pos="6589047" algn="r"/>
              </a:tabLst>
              <a:defRPr/>
            </a:lvl4pPr>
            <a:lvl5pPr>
              <a:tabLst>
                <a:tab pos="4924300" algn="r"/>
              </a:tabLst>
              <a:defRPr baseline="0"/>
            </a:lvl5pPr>
            <a:lvl6pPr marL="348965" indent="0">
              <a:buNone/>
              <a:tabLst>
                <a:tab pos="6589047" algn="r"/>
              </a:tabLst>
              <a:defRPr/>
            </a:lvl6pPr>
            <a:lvl7pPr>
              <a:tabLst>
                <a:tab pos="6589047" algn="r"/>
              </a:tabLst>
              <a:defRPr/>
            </a:lvl7pPr>
            <a:lvl8pPr>
              <a:tabLst>
                <a:tab pos="6589047" algn="r"/>
              </a:tabLst>
              <a:defRPr/>
            </a:lvl8pPr>
            <a:lvl9pPr>
              <a:tabLst>
                <a:tab pos="6589047"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7" name="Title Placeholder 1"/>
          <p:cNvSpPr>
            <a:spLocks noGrp="1"/>
          </p:cNvSpPr>
          <p:nvPr>
            <p:ph type="title" hasCustomPrompt="1"/>
          </p:nvPr>
        </p:nvSpPr>
        <p:spPr>
          <a:xfrm>
            <a:off x="492629" y="317505"/>
            <a:ext cx="11203378" cy="698501"/>
          </a:xfrm>
          <a:prstGeom prst="rect">
            <a:avLst/>
          </a:prstGeom>
        </p:spPr>
        <p:txBody>
          <a:bodyPr vert="horz" lIns="0" tIns="0" rIns="0" bIns="0" rtlCol="0" anchor="t" anchorCtr="0">
            <a:noAutofit/>
          </a:bodyPr>
          <a:lstStyle>
            <a:lvl1pPr>
              <a:defRPr/>
            </a:lvl1pPr>
          </a:lstStyle>
          <a:p>
            <a:r>
              <a:rPr lang="en-AU"/>
              <a:t>Click to add title</a:t>
            </a:r>
          </a:p>
        </p:txBody>
      </p:sp>
      <p:sp>
        <p:nvSpPr>
          <p:cNvPr id="2" name="Footer Placeholder 1"/>
          <p:cNvSpPr>
            <a:spLocks noGrp="1"/>
          </p:cNvSpPr>
          <p:nvPr>
            <p:ph type="ftr" sz="quarter" idx="11"/>
          </p:nvPr>
        </p:nvSpPr>
        <p:spPr/>
        <p:txBody>
          <a:bodyPr/>
          <a:lstStyle/>
          <a:p>
            <a:endParaRPr lang="en-AU"/>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94201" y="316846"/>
            <a:ext cx="11201795" cy="698501"/>
          </a:xfrm>
          <a:prstGeom prst="rect">
            <a:avLst/>
          </a:prstGeom>
        </p:spPr>
        <p:txBody>
          <a:bodyPr vert="horz" lIns="0" tIns="0" rIns="0" bIns="0" rtlCol="0" anchor="t" anchorCtr="0">
            <a:noAutofit/>
          </a:bodyPr>
          <a:lstStyle>
            <a:lvl1pPr>
              <a:defRPr/>
            </a:lvl1pPr>
          </a:lstStyle>
          <a:p>
            <a:r>
              <a:rPr lang="en-AU" noProof="0"/>
              <a:t>Click to add title</a:t>
            </a:r>
          </a:p>
        </p:txBody>
      </p:sp>
      <p:sp>
        <p:nvSpPr>
          <p:cNvPr id="5" name="Picture Placeholder 9"/>
          <p:cNvSpPr>
            <a:spLocks noGrp="1"/>
          </p:cNvSpPr>
          <p:nvPr>
            <p:ph type="pic" sz="quarter" idx="15" hasCustomPrompt="1"/>
          </p:nvPr>
        </p:nvSpPr>
        <p:spPr>
          <a:xfrm>
            <a:off x="5485800" y="1701808"/>
            <a:ext cx="6210202" cy="4679950"/>
          </a:xfrm>
        </p:spPr>
        <p:txBody>
          <a:bodyPr/>
          <a:lstStyle/>
          <a:p>
            <a:r>
              <a:rPr lang="en-AU" noProof="0"/>
              <a:t>Drag picture to placeholder or click icon to add</a:t>
            </a:r>
          </a:p>
        </p:txBody>
      </p:sp>
      <p:sp>
        <p:nvSpPr>
          <p:cNvPr id="6" name="Content Placeholder 3"/>
          <p:cNvSpPr>
            <a:spLocks noGrp="1"/>
          </p:cNvSpPr>
          <p:nvPr>
            <p:ph sz="quarter" idx="10" hasCustomPrompt="1"/>
          </p:nvPr>
        </p:nvSpPr>
        <p:spPr>
          <a:xfrm>
            <a:off x="494203" y="1665301"/>
            <a:ext cx="4463886" cy="4716463"/>
          </a:xfrm>
          <a:prstGeom prst="rect">
            <a:avLst/>
          </a:prstGeom>
        </p:spPr>
        <p:txBody>
          <a:bodyPr/>
          <a:lstStyle>
            <a:lvl1pPr>
              <a:tabLst>
                <a:tab pos="4924300" algn="r"/>
              </a:tabLst>
              <a:defRPr/>
            </a:lvl1pPr>
            <a:lvl2pPr>
              <a:tabLst>
                <a:tab pos="4924300" algn="r"/>
              </a:tabLst>
              <a:defRPr/>
            </a:lvl2pPr>
            <a:lvl3pPr>
              <a:tabLst>
                <a:tab pos="4924300" algn="r"/>
              </a:tabLst>
              <a:defRPr/>
            </a:lvl3pPr>
            <a:lvl4pPr>
              <a:tabLst>
                <a:tab pos="4924300" algn="r"/>
              </a:tabLst>
              <a:defRPr/>
            </a:lvl4pPr>
            <a:lvl5pPr>
              <a:tabLst>
                <a:tab pos="4924300"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2" name="Footer Placeholder 1"/>
          <p:cNvSpPr>
            <a:spLocks noGrp="1"/>
          </p:cNvSpPr>
          <p:nvPr>
            <p:ph type="ftr" sz="quarter" idx="16"/>
          </p:nvPr>
        </p:nvSpPr>
        <p:spPr/>
        <p:txBody>
          <a:bodyPr/>
          <a:lstStyle/>
          <a:p>
            <a:endParaRPr lang="en-AU"/>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494201" y="317514"/>
            <a:ext cx="11201795" cy="698501"/>
          </a:xfrm>
        </p:spPr>
        <p:txBody>
          <a:bodyPr/>
          <a:lstStyle/>
          <a:p>
            <a:r>
              <a:rPr lang="en-AU"/>
              <a:t>Click to edit Master title style</a:t>
            </a:r>
          </a:p>
        </p:txBody>
      </p:sp>
      <p:sp>
        <p:nvSpPr>
          <p:cNvPr id="14" name="Text Placeholder 18"/>
          <p:cNvSpPr>
            <a:spLocks noGrp="1"/>
          </p:cNvSpPr>
          <p:nvPr>
            <p:ph idx="1" hasCustomPrompt="1"/>
          </p:nvPr>
        </p:nvSpPr>
        <p:spPr>
          <a:xfrm>
            <a:off x="494201" y="1665301"/>
            <a:ext cx="11201795" cy="4716463"/>
          </a:xfrm>
          <a:prstGeom prst="rect">
            <a:avLst/>
          </a:prstGeom>
        </p:spPr>
        <p:txBody>
          <a:bodyPr vert="horz" lIns="0" tIns="0" rIns="0" bIns="0" rtlCol="0">
            <a:noAutofit/>
          </a:body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3" name="Footer Placeholder 2"/>
          <p:cNvSpPr>
            <a:spLocks noGrp="1"/>
          </p:cNvSpPr>
          <p:nvPr>
            <p:ph type="ftr" sz="quarter" idx="10"/>
          </p:nvPr>
        </p:nvSpPr>
        <p:spPr/>
        <p:txBody>
          <a:bodyPr/>
          <a:lstStyle/>
          <a:p>
            <a:endParaRPr lang="en-AU"/>
          </a:p>
        </p:txBody>
      </p:sp>
    </p:spTree>
    <p:extLst>
      <p:ext uri="{BB962C8B-B14F-4D97-AF65-F5344CB8AC3E}">
        <p14:creationId xmlns:p14="http://schemas.microsoft.com/office/powerpoint/2010/main" val="388109111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emf"/><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6205427" y="6476373"/>
            <a:ext cx="4896560" cy="244825"/>
          </a:xfrm>
          <a:prstGeom prst="rect">
            <a:avLst/>
          </a:prstGeom>
        </p:spPr>
        <p:txBody>
          <a:bodyPr vert="horz" lIns="0" tIns="0" rIns="0" bIns="0" rtlCol="0" anchor="t" anchorCtr="0"/>
          <a:lstStyle>
            <a:lvl1pPr algn="r">
              <a:defRPr sz="633" spc="0">
                <a:solidFill>
                  <a:schemeClr val="tx1"/>
                </a:solidFill>
              </a:defRPr>
            </a:lvl1pPr>
          </a:lstStyle>
          <a:p>
            <a:r>
              <a:rPr lang="en-AU" sz="800">
                <a:ea typeface="Open Sans" panose="020B0606030504020204" pitchFamily="34" charset="0"/>
                <a:cs typeface="Open Sans" panose="020B0606030504020204" pitchFamily="34" charset="0"/>
              </a:rPr>
              <a:t>Australia’s economic and retail outlook</a:t>
            </a:r>
            <a:endParaRPr lang="en-US" sz="800">
              <a:ea typeface="Open Sans" panose="020B0606030504020204" pitchFamily="34" charset="0"/>
              <a:cs typeface="Open Sans" panose="020B0606030504020204" pitchFamily="34" charset="0"/>
            </a:endParaRPr>
          </a:p>
          <a:p>
            <a:endParaRPr lang="en-AU"/>
          </a:p>
        </p:txBody>
      </p:sp>
      <p:graphicFrame>
        <p:nvGraphicFramePr>
          <p:cNvPr id="4" name="Object 3" hidden="1"/>
          <p:cNvGraphicFramePr>
            <a:graphicFrameLocks noChangeAspect="1"/>
          </p:cNvGraphicFramePr>
          <p:nvPr>
            <p:custDataLst>
              <p:tags r:id="rId37"/>
            </p:custDataLst>
            <p:extLst>
              <p:ext uri="{D42A27DB-BD31-4B8C-83A1-F6EECF244321}">
                <p14:modId xmlns:p14="http://schemas.microsoft.com/office/powerpoint/2010/main" val="3186111317"/>
              </p:ext>
            </p:extLst>
          </p:nvPr>
        </p:nvGraphicFramePr>
        <p:xfrm>
          <a:off x="2124" y="1601"/>
          <a:ext cx="2118" cy="1587"/>
        </p:xfrm>
        <a:graphic>
          <a:graphicData uri="http://schemas.openxmlformats.org/presentationml/2006/ole">
            <mc:AlternateContent xmlns:mc="http://schemas.openxmlformats.org/markup-compatibility/2006">
              <mc:Choice xmlns:v="urn:schemas-microsoft-com:vml" Requires="v">
                <p:oleObj name="think-cell Slide" r:id="rId38" imgW="270" imgH="270" progId="TCLayout.ActiveDocument.1">
                  <p:embed/>
                </p:oleObj>
              </mc:Choice>
              <mc:Fallback>
                <p:oleObj name="think-cell Slide" r:id="rId38" imgW="270" imgH="270" progId="TCLayout.ActiveDocument.1">
                  <p:embed/>
                  <p:pic>
                    <p:nvPicPr>
                      <p:cNvPr id="4" name="Object 3" hidden="1"/>
                      <p:cNvPicPr/>
                      <p:nvPr/>
                    </p:nvPicPr>
                    <p:blipFill>
                      <a:blip r:embed="rId39"/>
                      <a:stretch>
                        <a:fillRect/>
                      </a:stretch>
                    </p:blipFill>
                    <p:spPr>
                      <a:xfrm>
                        <a:off x="2124" y="1601"/>
                        <a:ext cx="2118"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94201" y="317517"/>
            <a:ext cx="11201795" cy="692149"/>
          </a:xfrm>
          <a:prstGeom prst="rect">
            <a:avLst/>
          </a:prstGeom>
        </p:spPr>
        <p:txBody>
          <a:bodyPr vert="horz" lIns="0" tIns="0" rIns="0" bIns="0" rtlCol="0" anchor="t" anchorCtr="0">
            <a:noAutofit/>
          </a:bodyPr>
          <a:lstStyle/>
          <a:p>
            <a:r>
              <a:rPr lang="en-AU" noProof="0"/>
              <a:t>Click to edit Master title style</a:t>
            </a:r>
            <a:br>
              <a:rPr lang="en-US" noProof="0"/>
            </a:br>
            <a:endParaRPr lang="en-AU" noProof="0"/>
          </a:p>
        </p:txBody>
      </p:sp>
      <p:sp>
        <p:nvSpPr>
          <p:cNvPr id="19" name="Text Placeholder 18"/>
          <p:cNvSpPr>
            <a:spLocks noGrp="1"/>
          </p:cNvSpPr>
          <p:nvPr>
            <p:ph type="body" idx="1"/>
          </p:nvPr>
        </p:nvSpPr>
        <p:spPr>
          <a:xfrm>
            <a:off x="494201" y="1665294"/>
            <a:ext cx="11201795" cy="4716462"/>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a:p>
          <a:p>
            <a:pPr lvl="5"/>
            <a:r>
              <a:rPr lang="en-AU" noProof="0"/>
              <a:t>6</a:t>
            </a:r>
            <a:endParaRPr lang="en-AU"/>
          </a:p>
          <a:p>
            <a:pPr lvl="6"/>
            <a:r>
              <a:rPr lang="en-AU" noProof="0"/>
              <a:t>7</a:t>
            </a:r>
            <a:endParaRPr lang="en-AU"/>
          </a:p>
          <a:p>
            <a:pPr lvl="7"/>
            <a:r>
              <a:rPr lang="en-AU" noProof="0"/>
              <a:t>8</a:t>
            </a:r>
            <a:endParaRPr lang="en-AU"/>
          </a:p>
          <a:p>
            <a:pPr lvl="8"/>
            <a:r>
              <a:rPr lang="en-AU" noProof="0"/>
              <a:t>9</a:t>
            </a:r>
            <a:endParaRPr lang="en-AU"/>
          </a:p>
        </p:txBody>
      </p:sp>
      <p:sp>
        <p:nvSpPr>
          <p:cNvPr id="3" name="TextBox 2"/>
          <p:cNvSpPr txBox="1"/>
          <p:nvPr userDrawn="1"/>
        </p:nvSpPr>
        <p:spPr>
          <a:xfrm>
            <a:off x="11388032" y="6476377"/>
            <a:ext cx="307974" cy="98305"/>
          </a:xfrm>
          <a:prstGeom prst="rect">
            <a:avLst/>
          </a:prstGeom>
          <a:noFill/>
        </p:spPr>
        <p:txBody>
          <a:bodyPr wrap="square" lIns="0" tIns="0" rIns="0" bIns="0" rtlCol="0">
            <a:noAutofit/>
          </a:bodyPr>
          <a:lstStyle/>
          <a:p>
            <a:pPr marL="0" indent="0" algn="r">
              <a:spcBef>
                <a:spcPts val="588"/>
              </a:spcBef>
              <a:buSzPct val="100000"/>
              <a:buFont typeface="Arial"/>
              <a:buNone/>
            </a:pPr>
            <a:fld id="{C58DF478-B544-4ED8-9ED4-6A2648E2D233}" type="slidenum">
              <a:rPr lang="en-AU" sz="637" noProof="0">
                <a:solidFill>
                  <a:schemeClr val="tx1"/>
                </a:solidFill>
              </a:rPr>
              <a:pPr marL="0" indent="0" algn="r">
                <a:spcBef>
                  <a:spcPts val="588"/>
                </a:spcBef>
                <a:buSzPct val="100000"/>
                <a:buFont typeface="Arial"/>
                <a:buNone/>
              </a:pPr>
              <a:t>‹#›</a:t>
            </a:fld>
            <a:endParaRPr lang="en-AU" sz="637" noProof="0">
              <a:solidFill>
                <a:schemeClr val="tx1"/>
              </a:solidFill>
            </a:endParaRPr>
          </a:p>
        </p:txBody>
      </p:sp>
      <p:sp>
        <p:nvSpPr>
          <p:cNvPr id="8" name="Copyright"/>
          <p:cNvSpPr txBox="1"/>
          <p:nvPr userDrawn="1"/>
        </p:nvSpPr>
        <p:spPr>
          <a:xfrm>
            <a:off x="494199" y="6476362"/>
            <a:ext cx="5490473" cy="97648"/>
          </a:xfrm>
          <a:prstGeom prst="rect">
            <a:avLst/>
          </a:prstGeom>
          <a:noFill/>
        </p:spPr>
        <p:txBody>
          <a:bodyPr wrap="square" lIns="0" tIns="0" rIns="0" bIns="0" rtlCol="0">
            <a:spAutoFit/>
          </a:bodyPr>
          <a:lstStyle/>
          <a:p>
            <a:pPr marL="0" indent="0">
              <a:spcBef>
                <a:spcPts val="0"/>
              </a:spcBef>
              <a:buSzPct val="100000"/>
              <a:buFont typeface="Arial"/>
              <a:buNone/>
            </a:pPr>
            <a:r>
              <a:rPr lang="en-AU" sz="633" noProof="0">
                <a:solidFill>
                  <a:schemeClr val="tx1"/>
                </a:solidFill>
              </a:rPr>
              <a:t>© 2024 Deloitte Access Economics. Deloitte </a:t>
            </a:r>
            <a:r>
              <a:rPr lang="en-AU" sz="633" noProof="0" err="1">
                <a:solidFill>
                  <a:schemeClr val="tx1"/>
                </a:solidFill>
              </a:rPr>
              <a:t>Touche</a:t>
            </a:r>
            <a:r>
              <a:rPr lang="en-AU" sz="633" noProof="0">
                <a:solidFill>
                  <a:schemeClr val="tx1"/>
                </a:solidFill>
              </a:rPr>
              <a:t> Tohmatsu</a:t>
            </a:r>
          </a:p>
        </p:txBody>
      </p:sp>
    </p:spTree>
  </p:cSld>
  <p:clrMap bg1="lt1" tx1="dk1" bg2="lt2" tx2="dk2" accent1="accent1" accent2="accent2" accent3="accent3" accent4="accent4" accent5="accent5" accent6="accent6" hlink="hlink" folHlink="folHlink"/>
  <p:sldLayoutIdLst>
    <p:sldLayoutId id="2147483662" r:id="rId1"/>
    <p:sldLayoutId id="2147483680" r:id="rId2"/>
    <p:sldLayoutId id="2147483679" r:id="rId3"/>
    <p:sldLayoutId id="2147483658" r:id="rId4"/>
    <p:sldLayoutId id="2147483652" r:id="rId5"/>
    <p:sldLayoutId id="2147483672" r:id="rId6"/>
    <p:sldLayoutId id="2147483666" r:id="rId7"/>
    <p:sldLayoutId id="2147483663" r:id="rId8"/>
    <p:sldLayoutId id="2147483654" r:id="rId9"/>
    <p:sldLayoutId id="2147483677" r:id="rId10"/>
    <p:sldLayoutId id="2147483673" r:id="rId11"/>
    <p:sldLayoutId id="2147483670" r:id="rId12"/>
    <p:sldLayoutId id="2147483664" r:id="rId13"/>
    <p:sldLayoutId id="2147483655" r:id="rId14"/>
    <p:sldLayoutId id="2147483649" r:id="rId15"/>
    <p:sldLayoutId id="2147483674" r:id="rId16"/>
    <p:sldLayoutId id="2147483667" r:id="rId17"/>
    <p:sldLayoutId id="2147483659" r:id="rId18"/>
    <p:sldLayoutId id="2147483656" r:id="rId19"/>
    <p:sldLayoutId id="2147483650" r:id="rId20"/>
    <p:sldLayoutId id="2147483671" r:id="rId21"/>
    <p:sldLayoutId id="2147483660" r:id="rId22"/>
    <p:sldLayoutId id="2147483653" r:id="rId23"/>
    <p:sldLayoutId id="2147483675" r:id="rId24"/>
    <p:sldLayoutId id="2147483668" r:id="rId25"/>
    <p:sldLayoutId id="2147483665" r:id="rId26"/>
    <p:sldLayoutId id="2147483657" r:id="rId27"/>
    <p:sldLayoutId id="2147483651" r:id="rId28"/>
    <p:sldLayoutId id="2147483676" r:id="rId29"/>
    <p:sldLayoutId id="2147483669" r:id="rId30"/>
    <p:sldLayoutId id="2147483661" r:id="rId31"/>
    <p:sldLayoutId id="2147483682" r:id="rId32"/>
    <p:sldLayoutId id="2147483683" r:id="rId33"/>
    <p:sldLayoutId id="2147483684" r:id="rId34"/>
    <p:sldLayoutId id="2147483686" r:id="rId35"/>
  </p:sldLayoutIdLst>
  <p:transition>
    <p:fade/>
  </p:transition>
  <p:hf hdr="0" dt="0"/>
  <p:txStyles>
    <p:titleStyle>
      <a:lvl1pPr algn="l" defTabSz="895328" rtl="0" eaLnBrk="1" latinLnBrk="0" hangingPunct="1">
        <a:spcBef>
          <a:spcPct val="0"/>
        </a:spcBef>
        <a:buNone/>
        <a:defRPr sz="1808" kern="1200">
          <a:solidFill>
            <a:schemeClr val="tx1"/>
          </a:solidFill>
          <a:latin typeface="+mj-lt"/>
          <a:ea typeface="+mj-ea"/>
          <a:cs typeface="+mj-cs"/>
        </a:defRPr>
      </a:lvl1pPr>
    </p:titleStyle>
    <p:bodyStyle>
      <a:lvl1pPr marL="0" indent="0" algn="l" defTabSz="895328" rtl="0" eaLnBrk="1" latinLnBrk="0" hangingPunct="1">
        <a:spcBef>
          <a:spcPts val="0"/>
        </a:spcBef>
        <a:spcAft>
          <a:spcPts val="978"/>
        </a:spcAft>
        <a:buSzPct val="100000"/>
        <a:buFont typeface="Arial" panose="020B0604020202020204" pitchFamily="34" charset="0"/>
        <a:buChar char="​"/>
        <a:defRPr sz="905" b="0" kern="1200">
          <a:solidFill>
            <a:schemeClr val="tx1"/>
          </a:solidFill>
          <a:latin typeface="+mn-lt"/>
          <a:ea typeface="+mn-ea"/>
          <a:cs typeface="+mn-cs"/>
        </a:defRPr>
      </a:lvl1pPr>
      <a:lvl2pPr marL="0" indent="0" algn="l" defTabSz="895328" rtl="0" eaLnBrk="1" latinLnBrk="0" hangingPunct="1">
        <a:spcBef>
          <a:spcPts val="0"/>
        </a:spcBef>
        <a:spcAft>
          <a:spcPts val="978"/>
        </a:spcAft>
        <a:buClrTx/>
        <a:buSzPct val="100000"/>
        <a:buFont typeface="Arial" panose="020B0604020202020204" pitchFamily="34" charset="0"/>
        <a:buChar char="​"/>
        <a:defRPr lang="en-US" sz="905" b="1" kern="1200" dirty="0">
          <a:solidFill>
            <a:schemeClr val="tx1"/>
          </a:solidFill>
          <a:latin typeface="+mn-lt"/>
          <a:ea typeface="+mn-ea"/>
          <a:cs typeface="+mn-cs"/>
        </a:defRPr>
      </a:lvl2pPr>
      <a:lvl3pPr marL="172720" indent="-172720" algn="l" defTabSz="895328" rtl="0" eaLnBrk="1" latinLnBrk="0" hangingPunct="1">
        <a:spcBef>
          <a:spcPts val="0"/>
        </a:spcBef>
        <a:spcAft>
          <a:spcPts val="978"/>
        </a:spcAft>
        <a:buClrTx/>
        <a:buSzPct val="100000"/>
        <a:buFont typeface="Arial" panose="020B0604020202020204" pitchFamily="34" charset="0"/>
        <a:buChar char="•"/>
        <a:defRPr lang="en-US" sz="905" kern="1200" dirty="0">
          <a:solidFill>
            <a:schemeClr val="tx1"/>
          </a:solidFill>
          <a:latin typeface="+mn-lt"/>
          <a:ea typeface="+mn-ea"/>
          <a:cs typeface="+mn-cs"/>
        </a:defRPr>
      </a:lvl3pPr>
      <a:lvl4pPr marL="348965" indent="-172720" algn="l" defTabSz="895328" rtl="0" eaLnBrk="1" latinLnBrk="0" hangingPunct="1">
        <a:spcBef>
          <a:spcPts val="0"/>
        </a:spcBef>
        <a:spcAft>
          <a:spcPts val="978"/>
        </a:spcAft>
        <a:buClrTx/>
        <a:buSzPct val="100000"/>
        <a:buFont typeface="Verdana" panose="020B0604030504040204" pitchFamily="34" charset="0"/>
        <a:buChar char="−"/>
        <a:defRPr lang="en-US" sz="905" kern="1200" baseline="0" dirty="0">
          <a:solidFill>
            <a:schemeClr val="tx1"/>
          </a:solidFill>
          <a:latin typeface="+mn-lt"/>
          <a:ea typeface="+mn-ea"/>
          <a:cs typeface="+mn-cs"/>
        </a:defRPr>
      </a:lvl4pPr>
      <a:lvl5pPr marL="521686" indent="-172720" algn="l" defTabSz="781858" rtl="0" eaLnBrk="1" latinLnBrk="0" hangingPunct="1">
        <a:spcBef>
          <a:spcPts val="0"/>
        </a:spcBef>
        <a:spcAft>
          <a:spcPts val="978"/>
        </a:spcAft>
        <a:buClrTx/>
        <a:buSzPct val="100000"/>
        <a:buFont typeface="Verdana" panose="020B0604030504040204" pitchFamily="34" charset="0"/>
        <a:buChar char="−"/>
        <a:tabLst/>
        <a:defRPr lang="en-US" sz="905" kern="1200" baseline="0" dirty="0">
          <a:solidFill>
            <a:schemeClr val="tx1"/>
          </a:solidFill>
          <a:latin typeface="+mn-lt"/>
          <a:ea typeface="+mn-ea"/>
          <a:cs typeface="+mn-cs"/>
        </a:defRPr>
      </a:lvl5pPr>
      <a:lvl6pPr marL="521686" indent="-172720" algn="l" defTabSz="895328" rtl="0" eaLnBrk="1" latinLnBrk="0" hangingPunct="1">
        <a:spcBef>
          <a:spcPts val="0"/>
        </a:spcBef>
        <a:spcAft>
          <a:spcPts val="978"/>
        </a:spcAft>
        <a:buFont typeface="Verdana" panose="020B0604030504040204" pitchFamily="34" charset="0"/>
        <a:buChar char="−"/>
        <a:defRPr sz="905" kern="1200" baseline="0">
          <a:solidFill>
            <a:schemeClr val="tx1"/>
          </a:solidFill>
          <a:latin typeface="+mn-lt"/>
          <a:ea typeface="+mn-ea"/>
          <a:cs typeface="+mn-cs"/>
        </a:defRPr>
      </a:lvl6pPr>
      <a:lvl7pPr marL="521686" indent="-172720" algn="l" defTabSz="895328" rtl="0" eaLnBrk="1" latinLnBrk="0" hangingPunct="1">
        <a:spcBef>
          <a:spcPts val="0"/>
        </a:spcBef>
        <a:spcAft>
          <a:spcPts val="978"/>
        </a:spcAft>
        <a:buFont typeface="Verdana" panose="020B0604030504040204" pitchFamily="34" charset="0"/>
        <a:buChar char="−"/>
        <a:defRPr sz="905" kern="1200">
          <a:solidFill>
            <a:schemeClr val="tx1"/>
          </a:solidFill>
          <a:latin typeface="+mn-lt"/>
          <a:ea typeface="+mn-ea"/>
          <a:cs typeface="+mn-cs"/>
        </a:defRPr>
      </a:lvl7pPr>
      <a:lvl8pPr marL="521686" indent="-172720" algn="l" defTabSz="895328" rtl="0" eaLnBrk="1" latinLnBrk="0" hangingPunct="1">
        <a:spcBef>
          <a:spcPts val="0"/>
        </a:spcBef>
        <a:spcAft>
          <a:spcPts val="978"/>
        </a:spcAft>
        <a:buFont typeface="Verdana" panose="020B0604030504040204" pitchFamily="34" charset="0"/>
        <a:buChar char="−"/>
        <a:defRPr sz="905" kern="1200" baseline="0">
          <a:solidFill>
            <a:schemeClr val="tx1"/>
          </a:solidFill>
          <a:latin typeface="+mn-lt"/>
          <a:ea typeface="+mn-ea"/>
          <a:cs typeface="+mn-cs"/>
        </a:defRPr>
      </a:lvl8pPr>
      <a:lvl9pPr marL="521686" indent="-172720" algn="l" defTabSz="895328" rtl="0" eaLnBrk="1" latinLnBrk="0" hangingPunct="1">
        <a:spcBef>
          <a:spcPts val="0"/>
        </a:spcBef>
        <a:spcAft>
          <a:spcPts val="978"/>
        </a:spcAft>
        <a:buFont typeface="Verdana" panose="020B0604030504040204" pitchFamily="34" charset="0"/>
        <a:buChar char="−"/>
        <a:defRPr sz="905" kern="1200" baseline="0">
          <a:solidFill>
            <a:schemeClr val="tx1"/>
          </a:solidFill>
          <a:latin typeface="+mn-lt"/>
          <a:ea typeface="+mn-ea"/>
          <a:cs typeface="+mn-cs"/>
        </a:defRPr>
      </a:lvl9pPr>
    </p:bodyStyle>
    <p:otherStyle>
      <a:defPPr>
        <a:defRPr lang="en-US"/>
      </a:defPPr>
      <a:lvl1pPr marL="0" algn="l" defTabSz="895328" rtl="0" eaLnBrk="1" latinLnBrk="0" hangingPunct="1">
        <a:defRPr sz="1764" kern="1200">
          <a:solidFill>
            <a:schemeClr val="tx1"/>
          </a:solidFill>
          <a:latin typeface="+mn-lt"/>
          <a:ea typeface="+mn-ea"/>
          <a:cs typeface="+mn-cs"/>
        </a:defRPr>
      </a:lvl1pPr>
      <a:lvl2pPr marL="447664" algn="l" defTabSz="895328" rtl="0" eaLnBrk="1" latinLnBrk="0" hangingPunct="1">
        <a:defRPr sz="1764" kern="1200">
          <a:solidFill>
            <a:schemeClr val="tx1"/>
          </a:solidFill>
          <a:latin typeface="+mn-lt"/>
          <a:ea typeface="+mn-ea"/>
          <a:cs typeface="+mn-cs"/>
        </a:defRPr>
      </a:lvl2pPr>
      <a:lvl3pPr marL="895328" algn="l" defTabSz="895328" rtl="0" eaLnBrk="1" latinLnBrk="0" hangingPunct="1">
        <a:defRPr sz="1764" kern="1200">
          <a:solidFill>
            <a:schemeClr val="tx1"/>
          </a:solidFill>
          <a:latin typeface="+mn-lt"/>
          <a:ea typeface="+mn-ea"/>
          <a:cs typeface="+mn-cs"/>
        </a:defRPr>
      </a:lvl3pPr>
      <a:lvl4pPr marL="1342990" algn="l" defTabSz="895328" rtl="0" eaLnBrk="1" latinLnBrk="0" hangingPunct="1">
        <a:defRPr sz="1764" kern="1200">
          <a:solidFill>
            <a:schemeClr val="tx1"/>
          </a:solidFill>
          <a:latin typeface="+mn-lt"/>
          <a:ea typeface="+mn-ea"/>
          <a:cs typeface="+mn-cs"/>
        </a:defRPr>
      </a:lvl4pPr>
      <a:lvl5pPr marL="1790655" algn="l" defTabSz="895328" rtl="0" eaLnBrk="1" latinLnBrk="0" hangingPunct="1">
        <a:defRPr sz="1764" kern="1200">
          <a:solidFill>
            <a:schemeClr val="tx1"/>
          </a:solidFill>
          <a:latin typeface="+mn-lt"/>
          <a:ea typeface="+mn-ea"/>
          <a:cs typeface="+mn-cs"/>
        </a:defRPr>
      </a:lvl5pPr>
      <a:lvl6pPr marL="2238316" algn="l" defTabSz="895328" rtl="0" eaLnBrk="1" latinLnBrk="0" hangingPunct="1">
        <a:defRPr sz="1764" kern="1200">
          <a:solidFill>
            <a:schemeClr val="tx1"/>
          </a:solidFill>
          <a:latin typeface="+mn-lt"/>
          <a:ea typeface="+mn-ea"/>
          <a:cs typeface="+mn-cs"/>
        </a:defRPr>
      </a:lvl6pPr>
      <a:lvl7pPr marL="2685981" algn="l" defTabSz="895328" rtl="0" eaLnBrk="1" latinLnBrk="0" hangingPunct="1">
        <a:defRPr sz="1764" kern="1200">
          <a:solidFill>
            <a:schemeClr val="tx1"/>
          </a:solidFill>
          <a:latin typeface="+mn-lt"/>
          <a:ea typeface="+mn-ea"/>
          <a:cs typeface="+mn-cs"/>
        </a:defRPr>
      </a:lvl7pPr>
      <a:lvl8pPr marL="3133643" algn="l" defTabSz="895328" rtl="0" eaLnBrk="1" latinLnBrk="0" hangingPunct="1">
        <a:defRPr sz="1764" kern="1200">
          <a:solidFill>
            <a:schemeClr val="tx1"/>
          </a:solidFill>
          <a:latin typeface="+mn-lt"/>
          <a:ea typeface="+mn-ea"/>
          <a:cs typeface="+mn-cs"/>
        </a:defRPr>
      </a:lvl8pPr>
      <a:lvl9pPr marL="3581307" algn="l" defTabSz="895328" rtl="0" eaLnBrk="1" latinLnBrk="0" hangingPunct="1">
        <a:defRPr sz="176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01" userDrawn="1">
          <p15:clr>
            <a:srgbClr val="F26B43"/>
          </p15:clr>
        </p15:guide>
        <p15:guide id="2" orient="horz" pos="2161" userDrawn="1">
          <p15:clr>
            <a:srgbClr val="F26B43"/>
          </p15:clr>
        </p15:guide>
        <p15:guide id="3" orient="horz" pos="4019" userDrawn="1">
          <p15:clr>
            <a:srgbClr val="F26B43"/>
          </p15:clr>
        </p15:guide>
        <p15:guide id="4" pos="311" userDrawn="1">
          <p15:clr>
            <a:srgbClr val="F26B43"/>
          </p15:clr>
        </p15:guide>
        <p15:guide id="5" pos="7368" userDrawn="1">
          <p15:clr>
            <a:srgbClr val="F26B43"/>
          </p15:clr>
        </p15:guide>
        <p15:guide id="6" orient="horz" pos="1071" userDrawn="1">
          <p15:clr>
            <a:srgbClr val="F26B43"/>
          </p15:clr>
        </p15:guide>
        <p15:guide id="7" orient="horz" pos="199" userDrawn="1">
          <p15:clr>
            <a:srgbClr val="F26B43"/>
          </p15:clr>
        </p15:guide>
        <p15:guide id="8" orient="horz" pos="4079" userDrawn="1">
          <p15:clr>
            <a:srgbClr val="F26B43"/>
          </p15:clr>
        </p15:guide>
        <p15:guide id="10" pos="4973" userDrawn="1">
          <p15:clr>
            <a:srgbClr val="F26B43"/>
          </p15:clr>
        </p15:guide>
        <p15:guide id="11" orient="horz" pos="236" userDrawn="1">
          <p15:clr>
            <a:srgbClr val="F26B43"/>
          </p15:clr>
        </p15:guide>
        <p15:guide id="12" pos="1380" userDrawn="1">
          <p15:clr>
            <a:srgbClr val="F26B43"/>
          </p15:clr>
        </p15:guide>
        <p15:guide id="13" pos="1509" userDrawn="1">
          <p15:clr>
            <a:srgbClr val="F26B43"/>
          </p15:clr>
        </p15:guide>
        <p15:guide id="14" pos="2579" userDrawn="1">
          <p15:clr>
            <a:srgbClr val="F26B43"/>
          </p15:clr>
        </p15:guide>
        <p15:guide id="15" pos="2706" userDrawn="1">
          <p15:clr>
            <a:srgbClr val="F26B43"/>
          </p15:clr>
        </p15:guide>
        <p15:guide id="16" pos="6169" userDrawn="1">
          <p15:clr>
            <a:srgbClr val="F26B43"/>
          </p15:clr>
        </p15:guide>
        <p15:guide id="17" pos="3770" userDrawn="1">
          <p15:clr>
            <a:srgbClr val="F26B43"/>
          </p15:clr>
        </p15:guide>
        <p15:guide id="18" pos="3904" userDrawn="1">
          <p15:clr>
            <a:srgbClr val="F26B43"/>
          </p15:clr>
        </p15:guide>
        <p15:guide id="19" pos="3841" userDrawn="1">
          <p15:clr>
            <a:srgbClr val="F26B43"/>
          </p15:clr>
        </p15:guide>
        <p15:guide id="20" pos="6300" userDrawn="1">
          <p15:clr>
            <a:srgbClr val="F26B43"/>
          </p15:clr>
        </p15:guide>
        <p15:guide id="21" orient="horz" pos="1051" userDrawn="1">
          <p15:clr>
            <a:srgbClr val="F26B43"/>
          </p15:clr>
        </p15:guide>
        <p15:guide id="22" orient="horz" pos="641"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notesSlide" Target="../notesSlides/notesSlide1.xml"/><Relationship Id="rId7" Type="http://schemas.openxmlformats.org/officeDocument/2006/relationships/image" Target="../media/image5.emf"/><Relationship Id="rId2" Type="http://schemas.openxmlformats.org/officeDocument/2006/relationships/slideLayout" Target="../slideLayouts/slideLayout32.xml"/><Relationship Id="rId1" Type="http://schemas.openxmlformats.org/officeDocument/2006/relationships/tags" Target="../tags/tag4.x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34.xml"/><Relationship Id="rId4" Type="http://schemas.openxmlformats.org/officeDocument/2006/relationships/chart" Target="../charts/chart11.xml"/></Relationships>
</file>

<file path=ppt/slides/_rels/slide11.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0.xml"/><Relationship Id="rId1" Type="http://schemas.openxmlformats.org/officeDocument/2006/relationships/slideLayout" Target="../slideLayouts/slideLayout34.xml"/><Relationship Id="rId4" Type="http://schemas.openxmlformats.org/officeDocument/2006/relationships/chart" Target="../charts/chart13.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3.xml"/><Relationship Id="rId1" Type="http://schemas.openxmlformats.org/officeDocument/2006/relationships/tags" Target="../tags/tag10.xml"/><Relationship Id="rId5" Type="http://schemas.openxmlformats.org/officeDocument/2006/relationships/image" Target="../media/image16.emf"/><Relationship Id="rId4" Type="http://schemas.openxmlformats.org/officeDocument/2006/relationships/oleObject" Target="../embeddings/oleObject9.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1.xml"/><Relationship Id="rId1" Type="http://schemas.openxmlformats.org/officeDocument/2006/relationships/tags" Target="../tags/tag11.xml"/></Relationships>
</file>

<file path=ppt/slides/_rels/slide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2.xml"/><Relationship Id="rId1" Type="http://schemas.openxmlformats.org/officeDocument/2006/relationships/slideLayout" Target="../slideLayouts/slideLayout33.xml"/><Relationship Id="rId4" Type="http://schemas.openxmlformats.org/officeDocument/2006/relationships/image" Target="../media/image11.jpe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chart" Target="../charts/chart2.xml"/><Relationship Id="rId2" Type="http://schemas.openxmlformats.org/officeDocument/2006/relationships/slideLayout" Target="../slideLayouts/slideLayout14.xml"/><Relationship Id="rId1" Type="http://schemas.openxmlformats.org/officeDocument/2006/relationships/tags" Target="../tags/tag5.xml"/><Relationship Id="rId6" Type="http://schemas.openxmlformats.org/officeDocument/2006/relationships/chart" Target="../charts/chart1.xml"/><Relationship Id="rId5" Type="http://schemas.openxmlformats.org/officeDocument/2006/relationships/image" Target="../media/image7.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4.xml"/><Relationship Id="rId7" Type="http://schemas.openxmlformats.org/officeDocument/2006/relationships/chart" Target="../charts/chart3.xml"/><Relationship Id="rId2" Type="http://schemas.openxmlformats.org/officeDocument/2006/relationships/slideLayout" Target="../slideLayouts/slideLayout14.xml"/><Relationship Id="rId1" Type="http://schemas.openxmlformats.org/officeDocument/2006/relationships/tags" Target="../tags/tag6.x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image" Target="../media/image12.jpeg"/></Relationships>
</file>

<file path=ppt/slides/_rels/slide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3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5.xml"/><Relationship Id="rId2" Type="http://schemas.openxmlformats.org/officeDocument/2006/relationships/slideLayout" Target="../slideLayouts/slideLayout14.xml"/><Relationship Id="rId1" Type="http://schemas.openxmlformats.org/officeDocument/2006/relationships/tags" Target="../tags/tag7.xml"/><Relationship Id="rId6" Type="http://schemas.openxmlformats.org/officeDocument/2006/relationships/chart" Target="../charts/chart4.xml"/><Relationship Id="rId5" Type="http://schemas.openxmlformats.org/officeDocument/2006/relationships/image" Target="../media/image7.emf"/><Relationship Id="rId4" Type="http://schemas.openxmlformats.org/officeDocument/2006/relationships/oleObject" Target="../embeddings/oleObject6.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4.xml"/><Relationship Id="rId1" Type="http://schemas.openxmlformats.org/officeDocument/2006/relationships/tags" Target="../tags/tag8.xml"/><Relationship Id="rId6" Type="http://schemas.openxmlformats.org/officeDocument/2006/relationships/chart" Target="../charts/chart6.xml"/><Relationship Id="rId5" Type="http://schemas.openxmlformats.org/officeDocument/2006/relationships/image" Target="../media/image7.emf"/><Relationship Id="rId4" Type="http://schemas.openxmlformats.org/officeDocument/2006/relationships/oleObject" Target="../embeddings/oleObject7.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8.xml"/><Relationship Id="rId2" Type="http://schemas.openxmlformats.org/officeDocument/2006/relationships/slideLayout" Target="../slideLayouts/slideLayout14.xml"/><Relationship Id="rId1" Type="http://schemas.openxmlformats.org/officeDocument/2006/relationships/tags" Target="../tags/tag9.xml"/><Relationship Id="rId6" Type="http://schemas.openxmlformats.org/officeDocument/2006/relationships/image" Target="../media/image7.emf"/><Relationship Id="rId5" Type="http://schemas.openxmlformats.org/officeDocument/2006/relationships/oleObject" Target="../embeddings/oleObject8.bin"/><Relationship Id="rId4" Type="http://schemas.openxmlformats.org/officeDocument/2006/relationships/chart" Target="../charts/chart7.xml"/></Relationships>
</file>

<file path=ppt/slides/_rels/slide9.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8.xml"/><Relationship Id="rId1" Type="http://schemas.openxmlformats.org/officeDocument/2006/relationships/slideLayout" Target="../slideLayouts/slideLayout34.xml"/><Relationship Id="rId4" Type="http://schemas.openxmlformats.org/officeDocument/2006/relationships/chart" Target="../charts/char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2BC3C8D-2C7D-4810-B9D8-E6A9D3EDF74B}"/>
              </a:ext>
            </a:extLst>
          </p:cNvPr>
          <p:cNvPicPr>
            <a:picLocks noChangeAspect="1"/>
          </p:cNvPicPr>
          <p:nvPr/>
        </p:nvPicPr>
        <p:blipFill rotWithShape="1">
          <a:blip r:embed="rId4">
            <a:alphaModFix amt="50000"/>
          </a:blip>
          <a:srcRect t="14035" b="15768"/>
          <a:stretch/>
        </p:blipFill>
        <p:spPr>
          <a:xfrm>
            <a:off x="0" y="0"/>
            <a:ext cx="12218236" cy="6858000"/>
          </a:xfrm>
          <a:prstGeom prst="rect">
            <a:avLst/>
          </a:prstGeom>
        </p:spPr>
      </p:pic>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4211931949"/>
              </p:ext>
            </p:extLst>
          </p:nvPr>
        </p:nvGraphicFramePr>
        <p:xfrm>
          <a:off x="1263965" y="83750"/>
          <a:ext cx="154872" cy="154872"/>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263965" y="83750"/>
                        <a:ext cx="154872" cy="154872"/>
                      </a:xfrm>
                      <a:prstGeom prst="rect">
                        <a:avLst/>
                      </a:prstGeom>
                    </p:spPr>
                  </p:pic>
                </p:oleObj>
              </mc:Fallback>
            </mc:AlternateContent>
          </a:graphicData>
        </a:graphic>
      </p:graphicFrame>
      <p:sp>
        <p:nvSpPr>
          <p:cNvPr id="17" name="Trapezoid 16"/>
          <p:cNvSpPr/>
          <p:nvPr/>
        </p:nvSpPr>
        <p:spPr bwMode="gray">
          <a:xfrm>
            <a:off x="8325134" y="0"/>
            <a:ext cx="6346209" cy="6858000"/>
          </a:xfrm>
          <a:prstGeom prst="trapezoid">
            <a:avLst>
              <a:gd name="adj" fmla="val 30347"/>
            </a:avLst>
          </a:prstGeom>
          <a:solidFill>
            <a:schemeClr val="bg1">
              <a:lumMod val="95000"/>
              <a:alpha val="30196"/>
            </a:schemeClr>
          </a:solidFill>
          <a:ln w="19050" algn="ctr">
            <a:noFill/>
            <a:miter lim="800000"/>
            <a:headEnd/>
            <a:tailEnd/>
          </a:ln>
        </p:spPr>
        <p:txBody>
          <a:bodyPr wrap="square" lIns="86729" tIns="86729" rIns="86729" bIns="86729" rtlCol="0" anchor="ctr"/>
          <a:lstStyle/>
          <a:p>
            <a:pPr algn="ctr" defTabSz="1189329">
              <a:lnSpc>
                <a:spcPct val="106000"/>
              </a:lnSpc>
              <a:defRPr/>
            </a:pPr>
            <a:endParaRPr lang="en-AU" sz="1561" b="1" kern="0">
              <a:solidFill>
                <a:prstClr val="black"/>
              </a:solidFill>
            </a:endParaRPr>
          </a:p>
        </p:txBody>
      </p:sp>
      <p:sp>
        <p:nvSpPr>
          <p:cNvPr id="18" name="Title 3"/>
          <p:cNvSpPr txBox="1">
            <a:spLocks/>
          </p:cNvSpPr>
          <p:nvPr/>
        </p:nvSpPr>
        <p:spPr bwMode="gray">
          <a:xfrm>
            <a:off x="510142" y="4853750"/>
            <a:ext cx="10861010" cy="432974"/>
          </a:xfrm>
          <a:prstGeom prst="rect">
            <a:avLst/>
          </a:prstGeom>
        </p:spPr>
        <p:txBody>
          <a:bodyPr vert="horz" lIns="0" tIns="0" rIns="0" bIns="0" rtlCol="0" anchor="b" anchorCtr="0">
            <a:noAutofit/>
          </a:bodyPr>
          <a:lstStyle>
            <a:lvl1pPr algn="l" defTabSz="1219170" rtl="0" eaLnBrk="1" latinLnBrk="0" hangingPunct="1">
              <a:spcBef>
                <a:spcPct val="0"/>
              </a:spcBef>
              <a:buNone/>
              <a:defRPr sz="1800" b="1" kern="1200">
                <a:solidFill>
                  <a:schemeClr val="tx1"/>
                </a:solidFill>
                <a:latin typeface="+mj-lt"/>
                <a:ea typeface="+mj-ea"/>
                <a:cs typeface="+mj-cs"/>
              </a:defRPr>
            </a:lvl1pPr>
          </a:lstStyle>
          <a:p>
            <a:r>
              <a:rPr lang="en-AU" sz="2200" spc="127">
                <a:solidFill>
                  <a:schemeClr val="bg1"/>
                </a:solidFill>
                <a:latin typeface="+mn-lt"/>
                <a:ea typeface="Open Sans" panose="020B0606030504020204" pitchFamily="34" charset="0"/>
                <a:cs typeface="Open Sans" panose="020B0606030504020204" pitchFamily="34" charset="0"/>
              </a:rPr>
              <a:t>Australia’s economic and consumer outlook</a:t>
            </a:r>
            <a:endParaRPr lang="en-US" sz="2200" spc="127">
              <a:solidFill>
                <a:schemeClr val="bg1"/>
              </a:solidFill>
              <a:latin typeface="+mn-lt"/>
              <a:ea typeface="Open Sans" panose="020B0606030504020204" pitchFamily="34" charset="0"/>
              <a:cs typeface="Open Sans" panose="020B0606030504020204" pitchFamily="34" charset="0"/>
            </a:endParaRPr>
          </a:p>
        </p:txBody>
      </p:sp>
      <p:sp>
        <p:nvSpPr>
          <p:cNvPr id="20" name="Text Placeholder 6"/>
          <p:cNvSpPr txBox="1">
            <a:spLocks/>
          </p:cNvSpPr>
          <p:nvPr/>
        </p:nvSpPr>
        <p:spPr>
          <a:xfrm>
            <a:off x="509521" y="5994400"/>
            <a:ext cx="5488709" cy="530691"/>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05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AU" sz="1266" spc="98">
                <a:solidFill>
                  <a:schemeClr val="bg1"/>
                </a:solidFill>
                <a:ea typeface="Open Sans" panose="020B0606030504020204" pitchFamily="34" charset="0"/>
                <a:cs typeface="Open Sans" panose="020B0606030504020204" pitchFamily="34" charset="0"/>
              </a:rPr>
              <a:t>David Rumbens</a:t>
            </a:r>
          </a:p>
          <a:p>
            <a:r>
              <a:rPr lang="en-AU" sz="1266" spc="98">
                <a:solidFill>
                  <a:schemeClr val="bg1"/>
                </a:solidFill>
                <a:ea typeface="Open Sans" panose="020B0606030504020204" pitchFamily="34" charset="0"/>
                <a:cs typeface="Open Sans" panose="020B0606030504020204" pitchFamily="34" charset="0"/>
              </a:rPr>
              <a:t>14 November 2024</a:t>
            </a:r>
          </a:p>
        </p:txBody>
      </p:sp>
      <p:cxnSp>
        <p:nvCxnSpPr>
          <p:cNvPr id="21" name="Straight Connector 20"/>
          <p:cNvCxnSpPr>
            <a:cxnSpLocks/>
          </p:cNvCxnSpPr>
          <p:nvPr/>
        </p:nvCxnSpPr>
        <p:spPr>
          <a:xfrm>
            <a:off x="510138" y="5477841"/>
            <a:ext cx="6491163" cy="0"/>
          </a:xfrm>
          <a:prstGeom prst="line">
            <a:avLst/>
          </a:prstGeom>
          <a:noFill/>
          <a:ln w="19050" cap="flat" cmpd="sng" algn="ctr">
            <a:solidFill>
              <a:sysClr val="window" lastClr="FFFFFF"/>
            </a:solidFill>
            <a:prstDash val="solid"/>
          </a:ln>
          <a:effectLst/>
        </p:spPr>
      </p:cxnSp>
      <p:pic>
        <p:nvPicPr>
          <p:cNvPr id="23" name="LogoFrontSlide">
            <a:extLst>
              <a:ext uri="{FF2B5EF4-FFF2-40B4-BE49-F238E27FC236}">
                <a16:creationId xmlns:a16="http://schemas.microsoft.com/office/drawing/2014/main" id="{48277A50-3E2B-413A-9215-3CDA23757BB7}"/>
              </a:ext>
            </a:extLst>
          </p:cNvPr>
          <p:cNvPicPr>
            <a:picLocks noChangeAspect="1"/>
          </p:cNvPicPr>
          <p:nvPr/>
        </p:nvPicPr>
        <p:blipFill>
          <a:blip r:embed="rId7"/>
          <a:stretch>
            <a:fillRect/>
          </a:stretch>
        </p:blipFill>
        <p:spPr>
          <a:xfrm>
            <a:off x="451566" y="432250"/>
            <a:ext cx="2436431" cy="1067949"/>
          </a:xfrm>
          <a:prstGeom prst="rect">
            <a:avLst/>
          </a:prstGeom>
        </p:spPr>
      </p:pic>
      <p:pic>
        <p:nvPicPr>
          <p:cNvPr id="12" name="Secondary_Logo_Black">
            <a:extLst>
              <a:ext uri="{FF2B5EF4-FFF2-40B4-BE49-F238E27FC236}">
                <a16:creationId xmlns:a16="http://schemas.microsoft.com/office/drawing/2014/main" id="{9FFDB4FB-49ED-44F9-A548-8932EA21C328}"/>
              </a:ext>
            </a:extLst>
          </p:cNvPr>
          <p:cNvPicPr>
            <a:picLocks noChangeAspect="1"/>
          </p:cNvPicPr>
          <p:nvPr/>
        </p:nvPicPr>
        <p:blipFill>
          <a:blip r:embed="rId8"/>
          <a:stretch>
            <a:fillRect/>
          </a:stretch>
        </p:blipFill>
        <p:spPr>
          <a:xfrm>
            <a:off x="9748800" y="6094800"/>
            <a:ext cx="1976417" cy="522000"/>
          </a:xfrm>
          <a:prstGeom prst="rect">
            <a:avLst/>
          </a:prstGeom>
        </p:spPr>
      </p:pic>
    </p:spTree>
    <p:extLst>
      <p:ext uri="{BB962C8B-B14F-4D97-AF65-F5344CB8AC3E}">
        <p14:creationId xmlns:p14="http://schemas.microsoft.com/office/powerpoint/2010/main" val="149273025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9D6828D8-0330-D245-2B78-6A9769D7761C}"/>
              </a:ext>
            </a:extLst>
          </p:cNvPr>
          <p:cNvSpPr txBox="1">
            <a:spLocks/>
          </p:cNvSpPr>
          <p:nvPr/>
        </p:nvSpPr>
        <p:spPr bwMode="gray">
          <a:xfrm>
            <a:off x="424972" y="157151"/>
            <a:ext cx="11339211" cy="349686"/>
          </a:xfrm>
          <a:prstGeom prst="rect">
            <a:avLst/>
          </a:prstGeom>
        </p:spPr>
        <p:txBody>
          <a:bodyPr vert="horz" lIns="0" tIns="0" rIns="0" bIns="0" rtlCol="0" anchor="t" anchorCtr="0">
            <a:normAutofit fontScale="97500"/>
          </a:bodyPr>
          <a:lstStyle>
            <a:lvl1pPr algn="l" defTabSz="895328" rtl="0" eaLnBrk="1" latinLnBrk="0" hangingPunct="1">
              <a:spcBef>
                <a:spcPct val="0"/>
              </a:spcBef>
              <a:buNone/>
              <a:defRPr sz="1808" kern="1200">
                <a:solidFill>
                  <a:schemeClr val="tx1"/>
                </a:solidFill>
                <a:latin typeface="+mj-lt"/>
                <a:ea typeface="+mj-ea"/>
                <a:cs typeface="+mj-cs"/>
              </a:defRPr>
            </a:lvl1pPr>
          </a:lstStyle>
          <a:p>
            <a:pPr>
              <a:lnSpc>
                <a:spcPct val="120000"/>
              </a:lnSpc>
            </a:pPr>
            <a:r>
              <a:rPr lang="en-AU" sz="1100" b="1" spc="600">
                <a:solidFill>
                  <a:schemeClr val="bg1">
                    <a:lumMod val="85000"/>
                  </a:schemeClr>
                </a:solidFill>
              </a:rPr>
              <a:t>LABOUR MARKET</a:t>
            </a:r>
            <a:endParaRPr lang="en-US" sz="700" b="1" spc="600">
              <a:solidFill>
                <a:schemeClr val="bg1">
                  <a:lumMod val="85000"/>
                </a:schemeClr>
              </a:solidFill>
            </a:endParaRPr>
          </a:p>
        </p:txBody>
      </p:sp>
      <p:graphicFrame>
        <p:nvGraphicFramePr>
          <p:cNvPr id="17" name="Table 15">
            <a:extLst>
              <a:ext uri="{FF2B5EF4-FFF2-40B4-BE49-F238E27FC236}">
                <a16:creationId xmlns:a16="http://schemas.microsoft.com/office/drawing/2014/main" id="{7453D751-77E1-75E5-5AB8-FD2C15B8200C}"/>
              </a:ext>
            </a:extLst>
          </p:cNvPr>
          <p:cNvGraphicFramePr>
            <a:graphicFrameLocks noGrp="1"/>
          </p:cNvGraphicFramePr>
          <p:nvPr>
            <p:extLst>
              <p:ext uri="{D42A27DB-BD31-4B8C-83A1-F6EECF244321}">
                <p14:modId xmlns:p14="http://schemas.microsoft.com/office/powerpoint/2010/main" val="1411485858"/>
              </p:ext>
            </p:extLst>
          </p:nvPr>
        </p:nvGraphicFramePr>
        <p:xfrm>
          <a:off x="387320" y="480293"/>
          <a:ext cx="11292695" cy="396240"/>
        </p:xfrm>
        <a:graphic>
          <a:graphicData uri="http://schemas.openxmlformats.org/drawingml/2006/table">
            <a:tbl>
              <a:tblPr firstRow="1" bandRow="1">
                <a:tableStyleId>{5C22544A-7EE6-4342-B048-85BDC9FD1C3A}</a:tableStyleId>
              </a:tblPr>
              <a:tblGrid>
                <a:gridCol w="11292695">
                  <a:extLst>
                    <a:ext uri="{9D8B030D-6E8A-4147-A177-3AD203B41FA5}">
                      <a16:colId xmlns:a16="http://schemas.microsoft.com/office/drawing/2014/main" val="1216123402"/>
                    </a:ext>
                  </a:extLst>
                </a:gridCol>
              </a:tblGrid>
              <a:tr h="370840">
                <a:tc>
                  <a:txBody>
                    <a:bodyPr/>
                    <a:lstStyle/>
                    <a:p>
                      <a:r>
                        <a:rPr lang="en-AU" sz="2000" b="1" kern="1200" dirty="0">
                          <a:solidFill>
                            <a:schemeClr val="bg1">
                              <a:lumMod val="50000"/>
                            </a:schemeClr>
                          </a:solidFill>
                          <a:effectLst/>
                          <a:latin typeface="Open Sans" panose="020B0606030504020204" pitchFamily="34" charset="0"/>
                          <a:ea typeface="Open Sans" panose="020B0606030504020204" pitchFamily="34" charset="0"/>
                          <a:cs typeface="Open Sans" panose="020B0606030504020204" pitchFamily="34" charset="0"/>
                        </a:rPr>
                        <a:t>The retail sector has seen a decline in workforce shortage pressures</a:t>
                      </a:r>
                    </a:p>
                  </a:txBody>
                  <a:tcPr>
                    <a:lnB w="28575"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val="237313093"/>
                  </a:ext>
                </a:extLst>
              </a:tr>
            </a:tbl>
          </a:graphicData>
        </a:graphic>
      </p:graphicFrame>
      <p:pic>
        <p:nvPicPr>
          <p:cNvPr id="1026" name="Picture 2">
            <a:extLst>
              <a:ext uri="{FF2B5EF4-FFF2-40B4-BE49-F238E27FC236}">
                <a16:creationId xmlns:a16="http://schemas.microsoft.com/office/drawing/2014/main" id="{1DCC9FFB-81F7-464B-A131-400B0DE8D38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0557" b="5618"/>
          <a:stretch/>
        </p:blipFill>
        <p:spPr bwMode="auto">
          <a:xfrm>
            <a:off x="478780" y="2836718"/>
            <a:ext cx="5486400" cy="3158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Content Placeholder 4">
            <a:extLst>
              <a:ext uri="{FF2B5EF4-FFF2-40B4-BE49-F238E27FC236}">
                <a16:creationId xmlns:a16="http://schemas.microsoft.com/office/drawing/2014/main" id="{BFFD3B1F-873E-FB27-B66B-AF38FBDA5EE4}"/>
              </a:ext>
            </a:extLst>
          </p:cNvPr>
          <p:cNvSpPr txBox="1">
            <a:spLocks/>
          </p:cNvSpPr>
          <p:nvPr/>
        </p:nvSpPr>
        <p:spPr>
          <a:xfrm>
            <a:off x="346996" y="998400"/>
            <a:ext cx="11236370" cy="1489878"/>
          </a:xfrm>
          <a:prstGeom prst="rect">
            <a:avLst/>
          </a:prstGeom>
        </p:spPr>
        <p:txBody>
          <a:bodyPr vert="horz" lIns="0" tIns="0" rIns="0" bIns="0" numCol="1" spcCol="360000" rtlCol="0">
            <a:noAutofit/>
          </a:bodyPr>
          <a:lstStyle>
            <a:defPPr>
              <a:defRPr lang="en-US"/>
            </a:defPPr>
            <a:lvl1pPr marL="0" algn="l" defTabSz="715952" rtl="0" eaLnBrk="1" latinLnBrk="0" hangingPunct="1">
              <a:defRPr sz="1410" kern="1200">
                <a:solidFill>
                  <a:schemeClr val="tx1"/>
                </a:solidFill>
                <a:latin typeface="+mn-lt"/>
                <a:ea typeface="+mn-ea"/>
                <a:cs typeface="+mn-cs"/>
              </a:defRPr>
            </a:lvl1pPr>
            <a:lvl2pPr marL="357977" algn="l" defTabSz="715952" rtl="0" eaLnBrk="1" latinLnBrk="0" hangingPunct="1">
              <a:defRPr sz="1410" kern="1200">
                <a:solidFill>
                  <a:schemeClr val="tx1"/>
                </a:solidFill>
                <a:latin typeface="+mn-lt"/>
                <a:ea typeface="+mn-ea"/>
                <a:cs typeface="+mn-cs"/>
              </a:defRPr>
            </a:lvl2pPr>
            <a:lvl3pPr marL="715952" algn="l" defTabSz="715952" rtl="0" eaLnBrk="1" latinLnBrk="0" hangingPunct="1">
              <a:defRPr sz="1410" kern="1200">
                <a:solidFill>
                  <a:schemeClr val="tx1"/>
                </a:solidFill>
                <a:latin typeface="+mn-lt"/>
                <a:ea typeface="+mn-ea"/>
                <a:cs typeface="+mn-cs"/>
              </a:defRPr>
            </a:lvl3pPr>
            <a:lvl4pPr marL="1073928" algn="l" defTabSz="715952" rtl="0" eaLnBrk="1" latinLnBrk="0" hangingPunct="1">
              <a:defRPr sz="1410" kern="1200">
                <a:solidFill>
                  <a:schemeClr val="tx1"/>
                </a:solidFill>
                <a:latin typeface="+mn-lt"/>
                <a:ea typeface="+mn-ea"/>
                <a:cs typeface="+mn-cs"/>
              </a:defRPr>
            </a:lvl4pPr>
            <a:lvl5pPr marL="1431905" algn="l" defTabSz="715952" rtl="0" eaLnBrk="1" latinLnBrk="0" hangingPunct="1">
              <a:defRPr sz="1410" kern="1200">
                <a:solidFill>
                  <a:schemeClr val="tx1"/>
                </a:solidFill>
                <a:latin typeface="+mn-lt"/>
                <a:ea typeface="+mn-ea"/>
                <a:cs typeface="+mn-cs"/>
              </a:defRPr>
            </a:lvl5pPr>
            <a:lvl6pPr marL="1789881" algn="l" defTabSz="715952" rtl="0" eaLnBrk="1" latinLnBrk="0" hangingPunct="1">
              <a:defRPr sz="1410" kern="1200">
                <a:solidFill>
                  <a:schemeClr val="tx1"/>
                </a:solidFill>
                <a:latin typeface="+mn-lt"/>
                <a:ea typeface="+mn-ea"/>
                <a:cs typeface="+mn-cs"/>
              </a:defRPr>
            </a:lvl6pPr>
            <a:lvl7pPr marL="2147856" algn="l" defTabSz="715952" rtl="0" eaLnBrk="1" latinLnBrk="0" hangingPunct="1">
              <a:defRPr sz="1410" kern="1200">
                <a:solidFill>
                  <a:schemeClr val="tx1"/>
                </a:solidFill>
                <a:latin typeface="+mn-lt"/>
                <a:ea typeface="+mn-ea"/>
                <a:cs typeface="+mn-cs"/>
              </a:defRPr>
            </a:lvl7pPr>
            <a:lvl8pPr marL="2505832" algn="l" defTabSz="715952" rtl="0" eaLnBrk="1" latinLnBrk="0" hangingPunct="1">
              <a:defRPr sz="1410" kern="1200">
                <a:solidFill>
                  <a:schemeClr val="tx1"/>
                </a:solidFill>
                <a:latin typeface="+mn-lt"/>
                <a:ea typeface="+mn-ea"/>
                <a:cs typeface="+mn-cs"/>
              </a:defRPr>
            </a:lvl8pPr>
            <a:lvl9pPr marL="2863809" algn="l" defTabSz="715952" rtl="0" eaLnBrk="1" latinLnBrk="0" hangingPunct="1">
              <a:defRPr sz="1410" kern="1200">
                <a:solidFill>
                  <a:schemeClr val="tx1"/>
                </a:solidFill>
                <a:latin typeface="+mn-lt"/>
                <a:ea typeface="+mn-ea"/>
                <a:cs typeface="+mn-cs"/>
              </a:defRPr>
            </a:lvl9pPr>
          </a:lstStyle>
          <a:p>
            <a:pPr marL="285750" indent="-285750">
              <a:spcBef>
                <a:spcPts val="1200"/>
              </a:spcBef>
              <a:buFont typeface="Arial" panose="020B0604020202020204" pitchFamily="34" charset="0"/>
              <a:buChar char="•"/>
            </a:pPr>
            <a:r>
              <a:rPr lang="en-AU" sz="1400" dirty="0">
                <a:latin typeface="Open Sans" panose="020B0606030504020204" pitchFamily="34" charset="0"/>
                <a:ea typeface="Open Sans" panose="020B0606030504020204" pitchFamily="34" charset="0"/>
                <a:cs typeface="Open Sans" panose="020B0606030504020204" pitchFamily="34" charset="0"/>
              </a:rPr>
              <a:t>The share of occupations in shortage in Australia has declined slightly from 36.2% in 2023, to 33.1% in 2024.</a:t>
            </a:r>
          </a:p>
          <a:p>
            <a:pPr marL="285750" indent="-285750">
              <a:spcBef>
                <a:spcPts val="1200"/>
              </a:spcBef>
              <a:buFont typeface="Arial" panose="020B0604020202020204" pitchFamily="34" charset="0"/>
              <a:buChar char="•"/>
            </a:pPr>
            <a:r>
              <a:rPr lang="en-AU" sz="1400" dirty="0">
                <a:latin typeface="Open Sans" panose="020B0606030504020204" pitchFamily="34" charset="0"/>
                <a:ea typeface="Open Sans" panose="020B0606030504020204" pitchFamily="34" charset="0"/>
                <a:cs typeface="Open Sans" panose="020B0606030504020204" pitchFamily="34" charset="0"/>
              </a:rPr>
              <a:t>Workforce shortage pressures have loosened in the Retail sector particularly, with shortages in Retail trade falling from 46.2% in 2023 to 18.7% in 2024. Looking at shortages by occupation, 4.8% of occupations within the Sales Workers major group were in shortage in 2022. This has fallen to zero for each of the last two years.</a:t>
            </a:r>
            <a:endParaRPr lang="en-GB" sz="1400" dirty="0">
              <a:latin typeface="Open Sans" panose="020B0606030504020204" pitchFamily="34" charset="0"/>
              <a:ea typeface="Open Sans" panose="020B0606030504020204" pitchFamily="34" charset="0"/>
              <a:cs typeface="Open Sans" panose="020B0606030504020204" pitchFamily="34" charset="0"/>
            </a:endParaRPr>
          </a:p>
        </p:txBody>
      </p:sp>
      <p:sp>
        <p:nvSpPr>
          <p:cNvPr id="5" name="Text Placeholder 2">
            <a:extLst>
              <a:ext uri="{FF2B5EF4-FFF2-40B4-BE49-F238E27FC236}">
                <a16:creationId xmlns:a16="http://schemas.microsoft.com/office/drawing/2014/main" id="{8ED2D35B-E9C8-B60B-E512-F30444CEBA72}"/>
              </a:ext>
            </a:extLst>
          </p:cNvPr>
          <p:cNvSpPr txBox="1">
            <a:spLocks/>
          </p:cNvSpPr>
          <p:nvPr/>
        </p:nvSpPr>
        <p:spPr>
          <a:xfrm>
            <a:off x="6226820" y="2492973"/>
            <a:ext cx="5754648" cy="343745"/>
          </a:xfrm>
          <a:prstGeom prst="rect">
            <a:avLst/>
          </a:prstGeom>
        </p:spPr>
        <p:txBody>
          <a:bodyPr vert="horz" lIns="0" tIns="0" rIns="0" bIns="0" rtlCol="0" anchor="t">
            <a:noAutofit/>
          </a:bodyPr>
          <a:lstStyle>
            <a:lvl1pPr marL="0" indent="0" algn="l" defTabSz="1219170" rtl="0" eaLnBrk="1" latinLnBrk="0" hangingPunct="1">
              <a:spcBef>
                <a:spcPts val="0"/>
              </a:spcBef>
              <a:spcAft>
                <a:spcPts val="1000"/>
              </a:spcAft>
              <a:buClrTx/>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kumimoji="0" lang="en-AU" altLang="en-US" sz="1050" b="0" i="0" u="none" strike="noStrike" cap="none" normalizeH="0" baseline="0" dirty="0">
                <a:ln>
                  <a:noFill/>
                </a:ln>
                <a:solidFill>
                  <a:srgbClr val="75787B"/>
                </a:solidFill>
                <a:effectLst/>
                <a:latin typeface="+mj-lt"/>
                <a:ea typeface="Verdana"/>
                <a:cs typeface="Open Sans Light"/>
              </a:rPr>
              <a:t>Chart 15: Workforce shortage pressures – Retail trade</a:t>
            </a:r>
            <a:endParaRPr lang="en-AU" sz="1050" dirty="0">
              <a:solidFill>
                <a:srgbClr val="75787B"/>
              </a:solidFill>
              <a:latin typeface="+mj-lt"/>
              <a:ea typeface="Verdana"/>
              <a:cs typeface="Open Sans Light"/>
            </a:endParaRPr>
          </a:p>
        </p:txBody>
      </p:sp>
      <p:graphicFrame>
        <p:nvGraphicFramePr>
          <p:cNvPr id="6" name="Chart 5">
            <a:extLst>
              <a:ext uri="{FF2B5EF4-FFF2-40B4-BE49-F238E27FC236}">
                <a16:creationId xmlns:a16="http://schemas.microsoft.com/office/drawing/2014/main" id="{DB62F924-21B1-9666-9FDB-70E2115BB9AF}"/>
              </a:ext>
            </a:extLst>
          </p:cNvPr>
          <p:cNvGraphicFramePr>
            <a:graphicFrameLocks/>
          </p:cNvGraphicFramePr>
          <p:nvPr>
            <p:extLst>
              <p:ext uri="{D42A27DB-BD31-4B8C-83A1-F6EECF244321}">
                <p14:modId xmlns:p14="http://schemas.microsoft.com/office/powerpoint/2010/main" val="4168527748"/>
              </p:ext>
            </p:extLst>
          </p:nvPr>
        </p:nvGraphicFramePr>
        <p:xfrm>
          <a:off x="6175398" y="2749683"/>
          <a:ext cx="5669606" cy="3457576"/>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 Placeholder 2">
            <a:extLst>
              <a:ext uri="{FF2B5EF4-FFF2-40B4-BE49-F238E27FC236}">
                <a16:creationId xmlns:a16="http://schemas.microsoft.com/office/drawing/2014/main" id="{1FC8C176-04B4-2D32-65BC-8689B1C2DA62}"/>
              </a:ext>
            </a:extLst>
          </p:cNvPr>
          <p:cNvSpPr txBox="1">
            <a:spLocks/>
          </p:cNvSpPr>
          <p:nvPr/>
        </p:nvSpPr>
        <p:spPr>
          <a:xfrm>
            <a:off x="584557" y="2492973"/>
            <a:ext cx="5754648" cy="343745"/>
          </a:xfrm>
          <a:prstGeom prst="rect">
            <a:avLst/>
          </a:prstGeom>
        </p:spPr>
        <p:txBody>
          <a:bodyPr vert="horz" lIns="0" tIns="0" rIns="0" bIns="0" rtlCol="0" anchor="t">
            <a:noAutofit/>
          </a:bodyPr>
          <a:lstStyle>
            <a:lvl1pPr marL="0" indent="0" algn="l" defTabSz="1219170" rtl="0" eaLnBrk="1" latinLnBrk="0" hangingPunct="1">
              <a:spcBef>
                <a:spcPts val="0"/>
              </a:spcBef>
              <a:spcAft>
                <a:spcPts val="1000"/>
              </a:spcAft>
              <a:buClrTx/>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kumimoji="0" lang="en-AU" altLang="en-US" sz="1050" b="0" i="0" u="none" strike="noStrike" cap="none" normalizeH="0" baseline="0" dirty="0">
                <a:ln>
                  <a:noFill/>
                </a:ln>
                <a:solidFill>
                  <a:srgbClr val="75787B"/>
                </a:solidFill>
                <a:effectLst/>
                <a:latin typeface="+mj-lt"/>
                <a:ea typeface="Verdana"/>
                <a:cs typeface="Open Sans Light"/>
              </a:rPr>
              <a:t>Chart </a:t>
            </a:r>
            <a:r>
              <a:rPr lang="en-AU" altLang="en-US" sz="1050" dirty="0">
                <a:solidFill>
                  <a:srgbClr val="75787B"/>
                </a:solidFill>
                <a:latin typeface="+mj-lt"/>
                <a:ea typeface="Verdana"/>
                <a:cs typeface="Open Sans Light"/>
              </a:rPr>
              <a:t>14</a:t>
            </a:r>
            <a:r>
              <a:rPr kumimoji="0" lang="en-AU" altLang="en-US" sz="1050" b="0" i="0" u="none" strike="noStrike" cap="none" normalizeH="0" baseline="0" dirty="0">
                <a:ln>
                  <a:noFill/>
                </a:ln>
                <a:solidFill>
                  <a:srgbClr val="75787B"/>
                </a:solidFill>
                <a:effectLst/>
                <a:latin typeface="+mj-lt"/>
                <a:ea typeface="Verdana"/>
                <a:cs typeface="Open Sans Light"/>
              </a:rPr>
              <a:t>: Percentage of occupations in Shortage (%) major group, 2021-24</a:t>
            </a:r>
            <a:endParaRPr lang="en-AU" sz="1050" dirty="0">
              <a:solidFill>
                <a:srgbClr val="75787B"/>
              </a:solidFill>
              <a:latin typeface="+mj-lt"/>
              <a:ea typeface="Verdana"/>
              <a:cs typeface="Open Sans Light"/>
            </a:endParaRPr>
          </a:p>
        </p:txBody>
      </p:sp>
      <p:sp>
        <p:nvSpPr>
          <p:cNvPr id="8" name="Rectangle 3">
            <a:extLst>
              <a:ext uri="{FF2B5EF4-FFF2-40B4-BE49-F238E27FC236}">
                <a16:creationId xmlns:a16="http://schemas.microsoft.com/office/drawing/2014/main" id="{7F0170DF-0B5C-2FD1-8706-FC9A71EAA96E}"/>
              </a:ext>
            </a:extLst>
          </p:cNvPr>
          <p:cNvSpPr>
            <a:spLocks noChangeArrowheads="1"/>
          </p:cNvSpPr>
          <p:nvPr/>
        </p:nvSpPr>
        <p:spPr bwMode="auto">
          <a:xfrm>
            <a:off x="424972" y="6229350"/>
            <a:ext cx="4921726" cy="2178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AU" altLang="en-US" sz="800" b="0" i="1" u="none" strike="noStrike" cap="none" normalizeH="0" baseline="0" dirty="0">
                <a:ln>
                  <a:noFill/>
                </a:ln>
                <a:solidFill>
                  <a:srgbClr val="75787B"/>
                </a:solidFill>
                <a:effectLst/>
                <a:latin typeface="+mj-lt"/>
                <a:ea typeface="Verdana" panose="020B0604030504040204" pitchFamily="34" charset="0"/>
                <a:cs typeface="Open Sans Light" panose="020B0306030504020204" pitchFamily="34" charset="0"/>
              </a:rPr>
              <a:t>Source</a:t>
            </a:r>
            <a:r>
              <a:rPr lang="en-AU" altLang="en-US" sz="800" i="1" dirty="0">
                <a:solidFill>
                  <a:srgbClr val="75787B"/>
                </a:solidFill>
                <a:latin typeface="+mj-lt"/>
                <a:ea typeface="Verdana" panose="020B0604030504040204" pitchFamily="34" charset="0"/>
                <a:cs typeface="Open Sans Light" panose="020B0306030504020204" pitchFamily="34" charset="0"/>
              </a:rPr>
              <a:t>: Jobs and Skills Australia, Occupation Shortage List, 2021-24</a:t>
            </a:r>
            <a:endParaRPr kumimoji="0" lang="en-AU" altLang="en-US" sz="800" b="0" i="1" u="none" strike="noStrike" cap="none" normalizeH="0" baseline="0" dirty="0">
              <a:ln>
                <a:noFill/>
              </a:ln>
              <a:solidFill>
                <a:schemeClr val="tx1"/>
              </a:solidFill>
              <a:effectLst/>
              <a:latin typeface="+mj-lt"/>
            </a:endParaRPr>
          </a:p>
        </p:txBody>
      </p:sp>
      <p:sp>
        <p:nvSpPr>
          <p:cNvPr id="9" name="Rectangle 3">
            <a:extLst>
              <a:ext uri="{FF2B5EF4-FFF2-40B4-BE49-F238E27FC236}">
                <a16:creationId xmlns:a16="http://schemas.microsoft.com/office/drawing/2014/main" id="{1411AFDC-2AF3-1E0A-8EDB-ED6C326D07AA}"/>
              </a:ext>
            </a:extLst>
          </p:cNvPr>
          <p:cNvSpPr>
            <a:spLocks noChangeArrowheads="1"/>
          </p:cNvSpPr>
          <p:nvPr/>
        </p:nvSpPr>
        <p:spPr bwMode="auto">
          <a:xfrm>
            <a:off x="6226820" y="6229350"/>
            <a:ext cx="4921726" cy="2178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AU" altLang="en-US" sz="800" b="0" i="1" u="none" strike="noStrike" cap="none" normalizeH="0" baseline="0" dirty="0">
                <a:ln>
                  <a:noFill/>
                </a:ln>
                <a:solidFill>
                  <a:srgbClr val="75787B"/>
                </a:solidFill>
                <a:effectLst/>
                <a:latin typeface="+mj-lt"/>
                <a:ea typeface="Verdana" panose="020B0604030504040204" pitchFamily="34" charset="0"/>
                <a:cs typeface="Open Sans Light" panose="020B0306030504020204" pitchFamily="34" charset="0"/>
              </a:rPr>
              <a:t>Source</a:t>
            </a:r>
            <a:r>
              <a:rPr lang="en-AU" altLang="en-US" sz="800" i="1" dirty="0">
                <a:solidFill>
                  <a:srgbClr val="75787B"/>
                </a:solidFill>
                <a:latin typeface="+mj-lt"/>
                <a:ea typeface="Verdana" panose="020B0604030504040204" pitchFamily="34" charset="0"/>
                <a:cs typeface="Open Sans Light" panose="020B0306030504020204" pitchFamily="34" charset="0"/>
              </a:rPr>
              <a:t>: Jobs and Skills Australia, Occupation Shortage List, 2021-24</a:t>
            </a:r>
            <a:endParaRPr kumimoji="0" lang="en-AU" altLang="en-US" sz="800" b="0" i="1" u="none" strike="noStrike" cap="none" normalizeH="0" baseline="0" dirty="0">
              <a:ln>
                <a:noFill/>
              </a:ln>
              <a:solidFill>
                <a:schemeClr val="tx1"/>
              </a:solidFill>
              <a:effectLst/>
              <a:latin typeface="+mj-lt"/>
            </a:endParaRPr>
          </a:p>
        </p:txBody>
      </p:sp>
    </p:spTree>
    <p:extLst>
      <p:ext uri="{BB962C8B-B14F-4D97-AF65-F5344CB8AC3E}">
        <p14:creationId xmlns:p14="http://schemas.microsoft.com/office/powerpoint/2010/main" val="33097440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4">
            <a:extLst>
              <a:ext uri="{FF2B5EF4-FFF2-40B4-BE49-F238E27FC236}">
                <a16:creationId xmlns:a16="http://schemas.microsoft.com/office/drawing/2014/main" id="{AE3BBCA1-919F-0957-879A-EA320D1895F5}"/>
              </a:ext>
            </a:extLst>
          </p:cNvPr>
          <p:cNvSpPr txBox="1">
            <a:spLocks/>
          </p:cNvSpPr>
          <p:nvPr/>
        </p:nvSpPr>
        <p:spPr>
          <a:xfrm>
            <a:off x="346996" y="998400"/>
            <a:ext cx="11236370" cy="1489878"/>
          </a:xfrm>
          <a:prstGeom prst="rect">
            <a:avLst/>
          </a:prstGeom>
        </p:spPr>
        <p:txBody>
          <a:bodyPr vert="horz" lIns="0" tIns="0" rIns="0" bIns="0" numCol="1" spcCol="360000" rtlCol="0">
            <a:noAutofit/>
          </a:bodyPr>
          <a:lstStyle>
            <a:defPPr>
              <a:defRPr lang="en-US"/>
            </a:defPPr>
            <a:lvl1pPr marL="0" algn="l" defTabSz="715952" rtl="0" eaLnBrk="1" latinLnBrk="0" hangingPunct="1">
              <a:defRPr sz="1410" kern="1200">
                <a:solidFill>
                  <a:schemeClr val="tx1"/>
                </a:solidFill>
                <a:latin typeface="+mn-lt"/>
                <a:ea typeface="+mn-ea"/>
                <a:cs typeface="+mn-cs"/>
              </a:defRPr>
            </a:lvl1pPr>
            <a:lvl2pPr marL="357977" algn="l" defTabSz="715952" rtl="0" eaLnBrk="1" latinLnBrk="0" hangingPunct="1">
              <a:defRPr sz="1410" kern="1200">
                <a:solidFill>
                  <a:schemeClr val="tx1"/>
                </a:solidFill>
                <a:latin typeface="+mn-lt"/>
                <a:ea typeface="+mn-ea"/>
                <a:cs typeface="+mn-cs"/>
              </a:defRPr>
            </a:lvl2pPr>
            <a:lvl3pPr marL="715952" algn="l" defTabSz="715952" rtl="0" eaLnBrk="1" latinLnBrk="0" hangingPunct="1">
              <a:defRPr sz="1410" kern="1200">
                <a:solidFill>
                  <a:schemeClr val="tx1"/>
                </a:solidFill>
                <a:latin typeface="+mn-lt"/>
                <a:ea typeface="+mn-ea"/>
                <a:cs typeface="+mn-cs"/>
              </a:defRPr>
            </a:lvl3pPr>
            <a:lvl4pPr marL="1073928" algn="l" defTabSz="715952" rtl="0" eaLnBrk="1" latinLnBrk="0" hangingPunct="1">
              <a:defRPr sz="1410" kern="1200">
                <a:solidFill>
                  <a:schemeClr val="tx1"/>
                </a:solidFill>
                <a:latin typeface="+mn-lt"/>
                <a:ea typeface="+mn-ea"/>
                <a:cs typeface="+mn-cs"/>
              </a:defRPr>
            </a:lvl4pPr>
            <a:lvl5pPr marL="1431905" algn="l" defTabSz="715952" rtl="0" eaLnBrk="1" latinLnBrk="0" hangingPunct="1">
              <a:defRPr sz="1410" kern="1200">
                <a:solidFill>
                  <a:schemeClr val="tx1"/>
                </a:solidFill>
                <a:latin typeface="+mn-lt"/>
                <a:ea typeface="+mn-ea"/>
                <a:cs typeface="+mn-cs"/>
              </a:defRPr>
            </a:lvl5pPr>
            <a:lvl6pPr marL="1789881" algn="l" defTabSz="715952" rtl="0" eaLnBrk="1" latinLnBrk="0" hangingPunct="1">
              <a:defRPr sz="1410" kern="1200">
                <a:solidFill>
                  <a:schemeClr val="tx1"/>
                </a:solidFill>
                <a:latin typeface="+mn-lt"/>
                <a:ea typeface="+mn-ea"/>
                <a:cs typeface="+mn-cs"/>
              </a:defRPr>
            </a:lvl6pPr>
            <a:lvl7pPr marL="2147856" algn="l" defTabSz="715952" rtl="0" eaLnBrk="1" latinLnBrk="0" hangingPunct="1">
              <a:defRPr sz="1410" kern="1200">
                <a:solidFill>
                  <a:schemeClr val="tx1"/>
                </a:solidFill>
                <a:latin typeface="+mn-lt"/>
                <a:ea typeface="+mn-ea"/>
                <a:cs typeface="+mn-cs"/>
              </a:defRPr>
            </a:lvl7pPr>
            <a:lvl8pPr marL="2505832" algn="l" defTabSz="715952" rtl="0" eaLnBrk="1" latinLnBrk="0" hangingPunct="1">
              <a:defRPr sz="1410" kern="1200">
                <a:solidFill>
                  <a:schemeClr val="tx1"/>
                </a:solidFill>
                <a:latin typeface="+mn-lt"/>
                <a:ea typeface="+mn-ea"/>
                <a:cs typeface="+mn-cs"/>
              </a:defRPr>
            </a:lvl8pPr>
            <a:lvl9pPr marL="2863809" algn="l" defTabSz="715952" rtl="0" eaLnBrk="1" latinLnBrk="0" hangingPunct="1">
              <a:defRPr sz="1410" kern="1200">
                <a:solidFill>
                  <a:schemeClr val="tx1"/>
                </a:solidFill>
                <a:latin typeface="+mn-lt"/>
                <a:ea typeface="+mn-ea"/>
                <a:cs typeface="+mn-cs"/>
              </a:defRPr>
            </a:lvl9pPr>
          </a:lstStyle>
          <a:p>
            <a:pPr marL="285750" indent="-285750">
              <a:spcBef>
                <a:spcPts val="1200"/>
              </a:spcBef>
              <a:buFont typeface="Arial" panose="020B0604020202020204" pitchFamily="34" charset="0"/>
              <a:buChar char="•"/>
            </a:pPr>
            <a:r>
              <a:rPr lang="en-GB" sz="1400" dirty="0">
                <a:latin typeface="Open Sans" panose="020B0606030504020204" pitchFamily="34" charset="0"/>
                <a:ea typeface="Open Sans" panose="020B0606030504020204" pitchFamily="34" charset="0"/>
                <a:cs typeface="Open Sans" panose="020B0606030504020204" pitchFamily="34" charset="0"/>
              </a:rPr>
              <a:t>The Retail trade industry, has seen a decline in profit margins from a recent peak in 2021, now falling to their lowest levels since the start of the pandemic</a:t>
            </a:r>
          </a:p>
          <a:p>
            <a:pPr marL="285750" indent="-285750">
              <a:spcBef>
                <a:spcPts val="1200"/>
              </a:spcBef>
              <a:buFont typeface="Arial" panose="020B0604020202020204" pitchFamily="34" charset="0"/>
              <a:buChar char="•"/>
            </a:pPr>
            <a:r>
              <a:rPr lang="en-GB" sz="1400" dirty="0">
                <a:latin typeface="Open Sans" panose="020B0606030504020204" pitchFamily="34" charset="0"/>
                <a:ea typeface="Open Sans" panose="020B0606030504020204" pitchFamily="34" charset="0"/>
                <a:cs typeface="Open Sans" panose="020B0606030504020204" pitchFamily="34" charset="0"/>
              </a:rPr>
              <a:t>Weak demand and falling margins have squeezed businesses across the economy and in the retail sector in particular. </a:t>
            </a:r>
            <a:r>
              <a:rPr lang="en-GB" sz="1400" b="1" dirty="0">
                <a:latin typeface="Open Sans" panose="020B0606030504020204" pitchFamily="34" charset="0"/>
                <a:ea typeface="Open Sans" panose="020B0606030504020204" pitchFamily="34" charset="0"/>
                <a:cs typeface="Open Sans" panose="020B0606030504020204" pitchFamily="34" charset="0"/>
              </a:rPr>
              <a:t>More than 1,000 retail businesses became insolvent over the year to September 2024</a:t>
            </a:r>
            <a:r>
              <a:rPr lang="en-GB" sz="1400" dirty="0">
                <a:latin typeface="Open Sans" panose="020B0606030504020204" pitchFamily="34" charset="0"/>
                <a:ea typeface="Open Sans" panose="020B0606030504020204" pitchFamily="34" charset="0"/>
                <a:cs typeface="Open Sans" panose="020B0606030504020204" pitchFamily="34" charset="0"/>
              </a:rPr>
              <a:t>. However, there does appear to be a reversal of these trends in recent months.</a:t>
            </a:r>
          </a:p>
        </p:txBody>
      </p:sp>
      <p:sp>
        <p:nvSpPr>
          <p:cNvPr id="13" name="Title 1">
            <a:extLst>
              <a:ext uri="{FF2B5EF4-FFF2-40B4-BE49-F238E27FC236}">
                <a16:creationId xmlns:a16="http://schemas.microsoft.com/office/drawing/2014/main" id="{9D6828D8-0330-D245-2B78-6A9769D7761C}"/>
              </a:ext>
            </a:extLst>
          </p:cNvPr>
          <p:cNvSpPr txBox="1">
            <a:spLocks/>
          </p:cNvSpPr>
          <p:nvPr/>
        </p:nvSpPr>
        <p:spPr bwMode="gray">
          <a:xfrm>
            <a:off x="424972" y="157151"/>
            <a:ext cx="11339211" cy="349686"/>
          </a:xfrm>
          <a:prstGeom prst="rect">
            <a:avLst/>
          </a:prstGeom>
        </p:spPr>
        <p:txBody>
          <a:bodyPr vert="horz" lIns="0" tIns="0" rIns="0" bIns="0" rtlCol="0" anchor="t" anchorCtr="0">
            <a:normAutofit fontScale="97500"/>
          </a:bodyPr>
          <a:lstStyle>
            <a:lvl1pPr algn="l" defTabSz="895328" rtl="0" eaLnBrk="1" latinLnBrk="0" hangingPunct="1">
              <a:spcBef>
                <a:spcPct val="0"/>
              </a:spcBef>
              <a:buNone/>
              <a:defRPr sz="1808" kern="1200">
                <a:solidFill>
                  <a:schemeClr val="tx1"/>
                </a:solidFill>
                <a:latin typeface="+mj-lt"/>
                <a:ea typeface="+mj-ea"/>
                <a:cs typeface="+mj-cs"/>
              </a:defRPr>
            </a:lvl1pPr>
          </a:lstStyle>
          <a:p>
            <a:pPr>
              <a:lnSpc>
                <a:spcPct val="120000"/>
              </a:lnSpc>
            </a:pPr>
            <a:r>
              <a:rPr lang="en-AU" sz="1100" b="1" spc="600">
                <a:solidFill>
                  <a:schemeClr val="bg1">
                    <a:lumMod val="85000"/>
                  </a:schemeClr>
                </a:solidFill>
              </a:rPr>
              <a:t>RETAIL BUSINESS PERFORMANCE</a:t>
            </a:r>
            <a:endParaRPr lang="en-US" sz="700" b="1" spc="600">
              <a:solidFill>
                <a:schemeClr val="bg1">
                  <a:lumMod val="85000"/>
                </a:schemeClr>
              </a:solidFill>
            </a:endParaRPr>
          </a:p>
        </p:txBody>
      </p:sp>
      <p:graphicFrame>
        <p:nvGraphicFramePr>
          <p:cNvPr id="17" name="Table 15">
            <a:extLst>
              <a:ext uri="{FF2B5EF4-FFF2-40B4-BE49-F238E27FC236}">
                <a16:creationId xmlns:a16="http://schemas.microsoft.com/office/drawing/2014/main" id="{7453D751-77E1-75E5-5AB8-FD2C15B8200C}"/>
              </a:ext>
            </a:extLst>
          </p:cNvPr>
          <p:cNvGraphicFramePr>
            <a:graphicFrameLocks noGrp="1"/>
          </p:cNvGraphicFramePr>
          <p:nvPr>
            <p:extLst>
              <p:ext uri="{D42A27DB-BD31-4B8C-83A1-F6EECF244321}">
                <p14:modId xmlns:p14="http://schemas.microsoft.com/office/powerpoint/2010/main" val="3467146379"/>
              </p:ext>
            </p:extLst>
          </p:nvPr>
        </p:nvGraphicFramePr>
        <p:xfrm>
          <a:off x="387320" y="480293"/>
          <a:ext cx="11292695" cy="396240"/>
        </p:xfrm>
        <a:graphic>
          <a:graphicData uri="http://schemas.openxmlformats.org/drawingml/2006/table">
            <a:tbl>
              <a:tblPr firstRow="1" bandRow="1">
                <a:tableStyleId>{5C22544A-7EE6-4342-B048-85BDC9FD1C3A}</a:tableStyleId>
              </a:tblPr>
              <a:tblGrid>
                <a:gridCol w="11292695">
                  <a:extLst>
                    <a:ext uri="{9D8B030D-6E8A-4147-A177-3AD203B41FA5}">
                      <a16:colId xmlns:a16="http://schemas.microsoft.com/office/drawing/2014/main" val="1216123402"/>
                    </a:ext>
                  </a:extLst>
                </a:gridCol>
              </a:tblGrid>
              <a:tr h="370840">
                <a:tc>
                  <a:txBody>
                    <a:bodyPr/>
                    <a:lstStyle/>
                    <a:p>
                      <a:r>
                        <a:rPr lang="en-AU" sz="2000" b="1" kern="1200">
                          <a:solidFill>
                            <a:schemeClr val="bg1">
                              <a:lumMod val="50000"/>
                            </a:schemeClr>
                          </a:solidFill>
                          <a:effectLst/>
                          <a:latin typeface="Open Sans" panose="020B0606030504020204" pitchFamily="34" charset="0"/>
                          <a:ea typeface="Open Sans" panose="020B0606030504020204" pitchFamily="34" charset="0"/>
                          <a:cs typeface="Open Sans" panose="020B0606030504020204" pitchFamily="34" charset="0"/>
                        </a:rPr>
                        <a:t>Retail profits, retail insolvencies and retail productivity</a:t>
                      </a:r>
                      <a:endParaRPr lang="en-AU" sz="2000" b="1" kern="1200" dirty="0">
                        <a:solidFill>
                          <a:schemeClr val="bg1">
                            <a:lumMod val="50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a:lnB w="28575"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val="237313093"/>
                  </a:ext>
                </a:extLst>
              </a:tr>
            </a:tbl>
          </a:graphicData>
        </a:graphic>
      </p:graphicFrame>
      <p:sp>
        <p:nvSpPr>
          <p:cNvPr id="5" name="Rectangle 4">
            <a:extLst>
              <a:ext uri="{FF2B5EF4-FFF2-40B4-BE49-F238E27FC236}">
                <a16:creationId xmlns:a16="http://schemas.microsoft.com/office/drawing/2014/main" id="{2A05473E-923C-AA11-2B95-281C4E7042FD}"/>
              </a:ext>
            </a:extLst>
          </p:cNvPr>
          <p:cNvSpPr>
            <a:spLocks noChangeArrowheads="1"/>
          </p:cNvSpPr>
          <p:nvPr/>
        </p:nvSpPr>
        <p:spPr bwMode="auto">
          <a:xfrm>
            <a:off x="424972" y="3046988"/>
            <a:ext cx="4358332" cy="415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AU" altLang="en-US" sz="1050" i="0" u="none" strike="noStrike" cap="none" normalizeH="0" baseline="0">
                <a:ln>
                  <a:noFill/>
                </a:ln>
                <a:solidFill>
                  <a:srgbClr val="75787B"/>
                </a:solidFill>
                <a:effectLst/>
                <a:latin typeface="+mj-lt"/>
                <a:ea typeface="Verdana" panose="020B0604030504040204" pitchFamily="34" charset="0"/>
                <a:cs typeface="Open Sans Light" panose="020B0306030504020204" pitchFamily="34" charset="0"/>
              </a:rPr>
              <a:t>Chart </a:t>
            </a:r>
            <a:r>
              <a:rPr kumimoji="0" lang="en-AU" altLang="en-US" sz="1050" i="0" u="none" strike="noStrike" cap="none" normalizeH="0" baseline="0" dirty="0">
                <a:ln>
                  <a:noFill/>
                </a:ln>
                <a:solidFill>
                  <a:srgbClr val="75787B"/>
                </a:solidFill>
                <a:effectLst/>
                <a:latin typeface="+mj-lt"/>
                <a:ea typeface="Verdana" panose="020B0604030504040204" pitchFamily="34" charset="0"/>
                <a:cs typeface="Open Sans Light" panose="020B0306030504020204" pitchFamily="34" charset="0"/>
              </a:rPr>
              <a:t>16</a:t>
            </a:r>
            <a:r>
              <a:rPr kumimoji="0" lang="en-AU" altLang="en-US" sz="1050" i="0" u="none" strike="noStrike" cap="none" normalizeH="0" baseline="0">
                <a:ln>
                  <a:noFill/>
                </a:ln>
                <a:solidFill>
                  <a:srgbClr val="75787B"/>
                </a:solidFill>
                <a:effectLst/>
                <a:latin typeface="+mj-lt"/>
                <a:ea typeface="Verdana" panose="020B0604030504040204" pitchFamily="34" charset="0"/>
                <a:cs typeface="Open Sans Light" panose="020B0306030504020204" pitchFamily="34" charset="0"/>
              </a:rPr>
              <a:t>: Rolling 3-month insolvencies count by industry</a:t>
            </a:r>
            <a:endParaRPr kumimoji="0" lang="en-AU" altLang="en-US" sz="1050" i="0" u="none" strike="noStrike" cap="none" normalizeH="0" baseline="0">
              <a:ln>
                <a:noFill/>
              </a:ln>
              <a:solidFill>
                <a:schemeClr val="tx1"/>
              </a:solidFill>
              <a:effectLst/>
              <a:latin typeface="+mj-l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AU" altLang="en-US" sz="1050" b="0" i="0" u="none" strike="noStrike" cap="none" normalizeH="0" baseline="0">
              <a:ln>
                <a:noFill/>
              </a:ln>
              <a:solidFill>
                <a:schemeClr val="tx1"/>
              </a:solidFill>
              <a:effectLst/>
              <a:latin typeface="+mj-lt"/>
            </a:endParaRPr>
          </a:p>
        </p:txBody>
      </p:sp>
      <p:sp>
        <p:nvSpPr>
          <p:cNvPr id="9" name="Rectangle 8">
            <a:extLst>
              <a:ext uri="{FF2B5EF4-FFF2-40B4-BE49-F238E27FC236}">
                <a16:creationId xmlns:a16="http://schemas.microsoft.com/office/drawing/2014/main" id="{36E59CBF-45B8-69F1-F424-5EE8DD418DB8}"/>
              </a:ext>
            </a:extLst>
          </p:cNvPr>
          <p:cNvSpPr>
            <a:spLocks noChangeArrowheads="1"/>
          </p:cNvSpPr>
          <p:nvPr/>
        </p:nvSpPr>
        <p:spPr bwMode="auto">
          <a:xfrm>
            <a:off x="6236927" y="3046988"/>
            <a:ext cx="4358332" cy="415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AU" altLang="en-US" sz="1050" i="0" u="none" strike="noStrike" cap="none" normalizeH="0" baseline="0">
                <a:ln>
                  <a:noFill/>
                </a:ln>
                <a:solidFill>
                  <a:srgbClr val="75787B"/>
                </a:solidFill>
                <a:effectLst/>
                <a:latin typeface="+mj-lt"/>
                <a:ea typeface="Verdana" panose="020B0604030504040204" pitchFamily="34" charset="0"/>
                <a:cs typeface="Open Sans Light" panose="020B0306030504020204" pitchFamily="34" charset="0"/>
              </a:rPr>
              <a:t>Chart </a:t>
            </a:r>
            <a:r>
              <a:rPr kumimoji="0" lang="en-AU" altLang="en-US" sz="1050" i="0" u="none" strike="noStrike" cap="none" normalizeH="0" baseline="0" dirty="0">
                <a:ln>
                  <a:noFill/>
                </a:ln>
                <a:solidFill>
                  <a:srgbClr val="75787B"/>
                </a:solidFill>
                <a:effectLst/>
                <a:latin typeface="+mj-lt"/>
                <a:ea typeface="Verdana" panose="020B0604030504040204" pitchFamily="34" charset="0"/>
                <a:cs typeface="Open Sans Light" panose="020B0306030504020204" pitchFamily="34" charset="0"/>
              </a:rPr>
              <a:t>17</a:t>
            </a:r>
            <a:r>
              <a:rPr kumimoji="0" lang="en-AU" altLang="en-US" sz="1050" i="0" u="none" strike="noStrike" cap="none" normalizeH="0" baseline="0">
                <a:ln>
                  <a:noFill/>
                </a:ln>
                <a:solidFill>
                  <a:srgbClr val="75787B"/>
                </a:solidFill>
                <a:effectLst/>
                <a:latin typeface="+mj-lt"/>
                <a:ea typeface="Verdana" panose="020B0604030504040204" pitchFamily="34" charset="0"/>
                <a:cs typeface="Open Sans Light" panose="020B0306030504020204" pitchFamily="34" charset="0"/>
              </a:rPr>
              <a:t>: </a:t>
            </a:r>
            <a:r>
              <a:rPr kumimoji="0" lang="en-AU" altLang="en-US" sz="1050" i="0" u="none" strike="noStrike" cap="none" normalizeH="0" baseline="0" dirty="0">
                <a:ln>
                  <a:noFill/>
                </a:ln>
                <a:solidFill>
                  <a:srgbClr val="75787B"/>
                </a:solidFill>
                <a:effectLst/>
                <a:latin typeface="+mj-lt"/>
                <a:ea typeface="Verdana" panose="020B0604030504040204" pitchFamily="34" charset="0"/>
                <a:cs typeface="Open Sans Light" panose="020B0306030504020204" pitchFamily="34" charset="0"/>
              </a:rPr>
              <a:t>Average </a:t>
            </a:r>
            <a:r>
              <a:rPr kumimoji="0" lang="en-AU" altLang="en-US" sz="1050" i="0" u="none" strike="noStrike" cap="none" normalizeH="0" baseline="0">
                <a:ln>
                  <a:noFill/>
                </a:ln>
                <a:solidFill>
                  <a:srgbClr val="75787B"/>
                </a:solidFill>
                <a:effectLst/>
                <a:latin typeface="+mj-lt"/>
                <a:ea typeface="Verdana" panose="020B0604030504040204" pitchFamily="34" charset="0"/>
                <a:cs typeface="Open Sans Light" panose="020B0306030504020204" pitchFamily="34" charset="0"/>
              </a:rPr>
              <a:t>profit </a:t>
            </a:r>
            <a:r>
              <a:rPr kumimoji="0" lang="en-AU" altLang="en-US" sz="1050" i="0" u="none" strike="noStrike" cap="none" normalizeH="0" baseline="0" dirty="0">
                <a:ln>
                  <a:noFill/>
                </a:ln>
                <a:solidFill>
                  <a:srgbClr val="75787B"/>
                </a:solidFill>
                <a:effectLst/>
                <a:latin typeface="+mj-lt"/>
                <a:ea typeface="Verdana" panose="020B0604030504040204" pitchFamily="34" charset="0"/>
                <a:cs typeface="Open Sans Light" panose="020B0306030504020204" pitchFamily="34" charset="0"/>
              </a:rPr>
              <a:t>year to June - </a:t>
            </a:r>
            <a:r>
              <a:rPr kumimoji="0" lang="en-AU" altLang="en-US" sz="1050" i="0" u="none" strike="noStrike" cap="none" normalizeH="0" baseline="0">
                <a:ln>
                  <a:noFill/>
                </a:ln>
                <a:solidFill>
                  <a:srgbClr val="75787B"/>
                </a:solidFill>
                <a:effectLst/>
                <a:latin typeface="+mj-lt"/>
                <a:ea typeface="Verdana" panose="020B0604030504040204" pitchFamily="34" charset="0"/>
                <a:cs typeface="Open Sans Light" panose="020B0306030504020204" pitchFamily="34" charset="0"/>
              </a:rPr>
              <a:t>Retail </a:t>
            </a:r>
            <a:r>
              <a:rPr kumimoji="0" lang="en-AU" altLang="en-US" sz="1050" i="0" u="none" strike="noStrike" cap="none" normalizeH="0" baseline="0" dirty="0">
                <a:ln>
                  <a:noFill/>
                </a:ln>
                <a:solidFill>
                  <a:srgbClr val="75787B"/>
                </a:solidFill>
                <a:effectLst/>
                <a:latin typeface="+mj-lt"/>
                <a:ea typeface="Verdana" panose="020B0604030504040204" pitchFamily="34" charset="0"/>
                <a:cs typeface="Open Sans Light" panose="020B0306030504020204" pitchFamily="34" charset="0"/>
              </a:rPr>
              <a:t>trade</a:t>
            </a:r>
            <a:endParaRPr kumimoji="0" lang="en-AU" altLang="en-US" sz="1050" i="0" u="none" strike="noStrike" cap="none" normalizeH="0" baseline="0">
              <a:ln>
                <a:noFill/>
              </a:ln>
              <a:solidFill>
                <a:schemeClr val="tx1"/>
              </a:solidFill>
              <a:effectLst/>
              <a:latin typeface="+mj-l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AU" altLang="en-US" sz="1050" b="0" i="0" u="none" strike="noStrike" cap="none" normalizeH="0" baseline="0">
              <a:ln>
                <a:noFill/>
              </a:ln>
              <a:solidFill>
                <a:schemeClr val="tx1"/>
              </a:solidFill>
              <a:effectLst/>
              <a:latin typeface="+mj-lt"/>
            </a:endParaRPr>
          </a:p>
        </p:txBody>
      </p:sp>
      <p:sp>
        <p:nvSpPr>
          <p:cNvPr id="10" name="Rectangle 3">
            <a:extLst>
              <a:ext uri="{FF2B5EF4-FFF2-40B4-BE49-F238E27FC236}">
                <a16:creationId xmlns:a16="http://schemas.microsoft.com/office/drawing/2014/main" id="{ADE53517-4C98-9B18-BF4F-20C0A68B323F}"/>
              </a:ext>
            </a:extLst>
          </p:cNvPr>
          <p:cNvSpPr>
            <a:spLocks noChangeArrowheads="1"/>
          </p:cNvSpPr>
          <p:nvPr/>
        </p:nvSpPr>
        <p:spPr bwMode="auto">
          <a:xfrm>
            <a:off x="6184972" y="6243456"/>
            <a:ext cx="4921726" cy="2178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AU" altLang="en-US" sz="800" b="0" i="1" u="none" strike="noStrike" cap="none" normalizeH="0" baseline="0">
                <a:ln>
                  <a:noFill/>
                </a:ln>
                <a:solidFill>
                  <a:srgbClr val="75787B"/>
                </a:solidFill>
                <a:effectLst/>
                <a:latin typeface="+mj-lt"/>
                <a:ea typeface="Verdana" panose="020B0604030504040204" pitchFamily="34" charset="0"/>
                <a:cs typeface="Open Sans Light" panose="020B0306030504020204" pitchFamily="34" charset="0"/>
              </a:rPr>
              <a:t>Source: ABS, Estimates of Industry Multifactor Productivity</a:t>
            </a:r>
            <a:endParaRPr kumimoji="0" lang="en-AU" altLang="en-US" sz="800" b="0" i="1" u="none" strike="noStrike" cap="none" normalizeH="0" baseline="0">
              <a:ln>
                <a:noFill/>
              </a:ln>
              <a:solidFill>
                <a:schemeClr val="tx1"/>
              </a:solidFill>
              <a:effectLst/>
              <a:latin typeface="+mj-lt"/>
            </a:endParaRPr>
          </a:p>
        </p:txBody>
      </p:sp>
      <p:sp>
        <p:nvSpPr>
          <p:cNvPr id="11" name="Rectangle 3">
            <a:extLst>
              <a:ext uri="{FF2B5EF4-FFF2-40B4-BE49-F238E27FC236}">
                <a16:creationId xmlns:a16="http://schemas.microsoft.com/office/drawing/2014/main" id="{5CB011E7-BAA6-E9F5-6721-D31C1B70BC8E}"/>
              </a:ext>
            </a:extLst>
          </p:cNvPr>
          <p:cNvSpPr>
            <a:spLocks noChangeArrowheads="1"/>
          </p:cNvSpPr>
          <p:nvPr/>
        </p:nvSpPr>
        <p:spPr bwMode="auto">
          <a:xfrm>
            <a:off x="425522" y="6243456"/>
            <a:ext cx="4921726" cy="2178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AU" altLang="en-US" sz="800" b="0" i="1" u="none" strike="noStrike" cap="none" normalizeH="0" baseline="0">
                <a:ln>
                  <a:noFill/>
                </a:ln>
                <a:solidFill>
                  <a:srgbClr val="75787B"/>
                </a:solidFill>
                <a:effectLst/>
                <a:latin typeface="+mj-lt"/>
                <a:ea typeface="Verdana" panose="020B0604030504040204" pitchFamily="34" charset="0"/>
                <a:cs typeface="Open Sans Light" panose="020B0306030504020204" pitchFamily="34" charset="0"/>
              </a:rPr>
              <a:t>Source: ASIC, Australian insolvency statistics </a:t>
            </a:r>
            <a:endParaRPr kumimoji="0" lang="en-AU" altLang="en-US" sz="800" b="0" i="1" u="none" strike="noStrike" cap="none" normalizeH="0" baseline="0">
              <a:ln>
                <a:noFill/>
              </a:ln>
              <a:solidFill>
                <a:schemeClr val="tx1"/>
              </a:solidFill>
              <a:effectLst/>
              <a:latin typeface="+mj-lt"/>
            </a:endParaRPr>
          </a:p>
        </p:txBody>
      </p:sp>
      <p:graphicFrame>
        <p:nvGraphicFramePr>
          <p:cNvPr id="14" name="Chart 13">
            <a:extLst>
              <a:ext uri="{FF2B5EF4-FFF2-40B4-BE49-F238E27FC236}">
                <a16:creationId xmlns:a16="http://schemas.microsoft.com/office/drawing/2014/main" id="{51DCA6D1-810D-D9CB-7216-B7AD5D5DE374}"/>
              </a:ext>
            </a:extLst>
          </p:cNvPr>
          <p:cNvGraphicFramePr>
            <a:graphicFrameLocks/>
          </p:cNvGraphicFramePr>
          <p:nvPr>
            <p:extLst>
              <p:ext uri="{D42A27DB-BD31-4B8C-83A1-F6EECF244321}">
                <p14:modId xmlns:p14="http://schemas.microsoft.com/office/powerpoint/2010/main" val="3407130247"/>
              </p:ext>
            </p:extLst>
          </p:nvPr>
        </p:nvGraphicFramePr>
        <p:xfrm>
          <a:off x="387320" y="3416819"/>
          <a:ext cx="5760000" cy="288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Chart 2">
            <a:extLst>
              <a:ext uri="{FF2B5EF4-FFF2-40B4-BE49-F238E27FC236}">
                <a16:creationId xmlns:a16="http://schemas.microsoft.com/office/drawing/2014/main" id="{20846E13-4823-82CE-07CB-2C4DB56A5464}"/>
              </a:ext>
            </a:extLst>
          </p:cNvPr>
          <p:cNvGraphicFramePr>
            <a:graphicFrameLocks/>
          </p:cNvGraphicFramePr>
          <p:nvPr>
            <p:extLst>
              <p:ext uri="{D42A27DB-BD31-4B8C-83A1-F6EECF244321}">
                <p14:modId xmlns:p14="http://schemas.microsoft.com/office/powerpoint/2010/main" val="1604788474"/>
              </p:ext>
            </p:extLst>
          </p:nvPr>
        </p:nvGraphicFramePr>
        <p:xfrm>
          <a:off x="6236927" y="3416819"/>
          <a:ext cx="5760000" cy="28800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2649028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2F36567-999B-E0AC-64F5-5F7356CD5FAC}"/>
              </a:ext>
            </a:extLst>
          </p:cNvPr>
          <p:cNvGraphicFramePr>
            <a:graphicFrameLocks noChangeAspect="1"/>
          </p:cNvGraphicFramePr>
          <p:nvPr>
            <p:custDataLst>
              <p:tags r:id="rId1"/>
            </p:custDataLst>
            <p:extLst>
              <p:ext uri="{D42A27DB-BD31-4B8C-83A1-F6EECF244321}">
                <p14:modId xmlns:p14="http://schemas.microsoft.com/office/powerpoint/2010/main" val="3301944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think-cell data - do not delete" hidden="1">
                        <a:extLst>
                          <a:ext uri="{FF2B5EF4-FFF2-40B4-BE49-F238E27FC236}">
                            <a16:creationId xmlns:a16="http://schemas.microsoft.com/office/drawing/2014/main" id="{82F36567-999B-E0AC-64F5-5F7356CD5F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A9D5C63F-A302-4ACC-9E8C-9595A83BDAF8}"/>
              </a:ext>
            </a:extLst>
          </p:cNvPr>
          <p:cNvSpPr>
            <a:spLocks noGrp="1"/>
          </p:cNvSpPr>
          <p:nvPr>
            <p:ph type="body" sz="quarter" idx="13"/>
          </p:nvPr>
        </p:nvSpPr>
        <p:spPr>
          <a:xfrm>
            <a:off x="495102" y="920102"/>
            <a:ext cx="11201795" cy="626296"/>
          </a:xfrm>
        </p:spPr>
        <p:txBody>
          <a:bodyPr/>
          <a:lstStyle/>
          <a:p>
            <a:r>
              <a:rPr lang="en-AU" sz="1452"/>
              <a:t>Retailers </a:t>
            </a:r>
            <a:r>
              <a:rPr lang="en-AU" sz="1452" dirty="0"/>
              <a:t>will continue to grapple </a:t>
            </a:r>
            <a:r>
              <a:rPr lang="en-AU" sz="1452"/>
              <a:t>with </a:t>
            </a:r>
            <a:r>
              <a:rPr lang="en-AU" sz="1452" dirty="0"/>
              <a:t>a number of challenges over </a:t>
            </a:r>
            <a:r>
              <a:rPr lang="en-AU" sz="1452"/>
              <a:t>the </a:t>
            </a:r>
            <a:r>
              <a:rPr lang="en-AU" sz="1452" dirty="0"/>
              <a:t>next year, including sluggish consumer spending and skills shortages</a:t>
            </a:r>
            <a:r>
              <a:rPr lang="en-AU" sz="1452"/>
              <a:t>. </a:t>
            </a:r>
            <a:r>
              <a:rPr lang="en-AU" sz="1452" dirty="0"/>
              <a:t>However, </a:t>
            </a:r>
            <a:r>
              <a:rPr lang="en-AU" sz="1452"/>
              <a:t>businesses </a:t>
            </a:r>
            <a:r>
              <a:rPr lang="en-AU" sz="1452" dirty="0"/>
              <a:t>should have </a:t>
            </a:r>
            <a:r>
              <a:rPr lang="en-AU" sz="1452"/>
              <a:t>the </a:t>
            </a:r>
            <a:r>
              <a:rPr lang="en-AU" sz="1452" dirty="0"/>
              <a:t>following </a:t>
            </a:r>
            <a:r>
              <a:rPr lang="en-AU" sz="1452"/>
              <a:t>in </a:t>
            </a:r>
            <a:r>
              <a:rPr lang="en-AU" sz="1452" dirty="0"/>
              <a:t>mind: </a:t>
            </a:r>
            <a:endParaRPr lang="en-AU" sz="1452"/>
          </a:p>
        </p:txBody>
      </p:sp>
      <p:grpSp>
        <p:nvGrpSpPr>
          <p:cNvPr id="47" name="Group 46">
            <a:extLst>
              <a:ext uri="{FF2B5EF4-FFF2-40B4-BE49-F238E27FC236}">
                <a16:creationId xmlns:a16="http://schemas.microsoft.com/office/drawing/2014/main" id="{4784347A-46C8-145F-0F12-876DC8CA5FED}"/>
              </a:ext>
            </a:extLst>
          </p:cNvPr>
          <p:cNvGrpSpPr/>
          <p:nvPr/>
        </p:nvGrpSpPr>
        <p:grpSpPr>
          <a:xfrm>
            <a:off x="1162050" y="1507020"/>
            <a:ext cx="10129200" cy="4755656"/>
            <a:chOff x="-372430" y="806925"/>
            <a:chExt cx="13306735" cy="6247509"/>
          </a:xfrm>
        </p:grpSpPr>
        <p:sp>
          <p:nvSpPr>
            <p:cNvPr id="48" name="Freeform 7">
              <a:extLst>
                <a:ext uri="{FF2B5EF4-FFF2-40B4-BE49-F238E27FC236}">
                  <a16:creationId xmlns:a16="http://schemas.microsoft.com/office/drawing/2014/main" id="{C505D279-689B-AF24-99A3-DCE588906E8A}"/>
                </a:ext>
              </a:extLst>
            </p:cNvPr>
            <p:cNvSpPr>
              <a:spLocks noChangeArrowheads="1"/>
            </p:cNvSpPr>
            <p:nvPr/>
          </p:nvSpPr>
          <p:spPr bwMode="auto">
            <a:xfrm>
              <a:off x="2915643" y="1968586"/>
              <a:ext cx="2817708" cy="3169863"/>
            </a:xfrm>
            <a:custGeom>
              <a:avLst/>
              <a:gdLst>
                <a:gd name="T0" fmla="*/ 144 w 471"/>
                <a:gd name="T1" fmla="*/ 462 h 509"/>
                <a:gd name="T2" fmla="*/ 144 w 471"/>
                <a:gd name="T3" fmla="*/ 407 h 509"/>
                <a:gd name="T4" fmla="*/ 144 w 471"/>
                <a:gd name="T5" fmla="*/ 403 h 509"/>
                <a:gd name="T6" fmla="*/ 227 w 471"/>
                <a:gd name="T7" fmla="*/ 323 h 509"/>
                <a:gd name="T8" fmla="*/ 423 w 471"/>
                <a:gd name="T9" fmla="*/ 323 h 509"/>
                <a:gd name="T10" fmla="*/ 471 w 471"/>
                <a:gd name="T11" fmla="*/ 275 h 509"/>
                <a:gd name="T12" fmla="*/ 471 w 471"/>
                <a:gd name="T13" fmla="*/ 49 h 509"/>
                <a:gd name="T14" fmla="*/ 423 w 471"/>
                <a:gd name="T15" fmla="*/ 1 h 509"/>
                <a:gd name="T16" fmla="*/ 192 w 471"/>
                <a:gd name="T17" fmla="*/ 0 h 509"/>
                <a:gd name="T18" fmla="*/ 144 w 471"/>
                <a:gd name="T19" fmla="*/ 48 h 509"/>
                <a:gd name="T20" fmla="*/ 144 w 471"/>
                <a:gd name="T21" fmla="*/ 275 h 509"/>
                <a:gd name="T22" fmla="*/ 144 w 471"/>
                <a:gd name="T23" fmla="*/ 281 h 509"/>
                <a:gd name="T24" fmla="*/ 89 w 471"/>
                <a:gd name="T25" fmla="*/ 359 h 509"/>
                <a:gd name="T26" fmla="*/ 48 w 471"/>
                <a:gd name="T27" fmla="*/ 359 h 509"/>
                <a:gd name="T28" fmla="*/ 0 w 471"/>
                <a:gd name="T29" fmla="*/ 407 h 509"/>
                <a:gd name="T30" fmla="*/ 0 w 471"/>
                <a:gd name="T31" fmla="*/ 461 h 509"/>
                <a:gd name="T32" fmla="*/ 48 w 471"/>
                <a:gd name="T33" fmla="*/ 509 h 509"/>
                <a:gd name="T34" fmla="*/ 96 w 471"/>
                <a:gd name="T35" fmla="*/ 509 h 509"/>
                <a:gd name="T36" fmla="*/ 144 w 471"/>
                <a:gd name="T37" fmla="*/ 462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1" h="509">
                  <a:moveTo>
                    <a:pt x="144" y="462"/>
                  </a:moveTo>
                  <a:cubicBezTo>
                    <a:pt x="144" y="407"/>
                    <a:pt x="144" y="407"/>
                    <a:pt x="144" y="407"/>
                  </a:cubicBezTo>
                  <a:cubicBezTo>
                    <a:pt x="144" y="406"/>
                    <a:pt x="144" y="405"/>
                    <a:pt x="144" y="403"/>
                  </a:cubicBezTo>
                  <a:cubicBezTo>
                    <a:pt x="143" y="390"/>
                    <a:pt x="148" y="338"/>
                    <a:pt x="227" y="323"/>
                  </a:cubicBezTo>
                  <a:cubicBezTo>
                    <a:pt x="423" y="323"/>
                    <a:pt x="423" y="323"/>
                    <a:pt x="423" y="323"/>
                  </a:cubicBezTo>
                  <a:cubicBezTo>
                    <a:pt x="449" y="323"/>
                    <a:pt x="471" y="302"/>
                    <a:pt x="471" y="275"/>
                  </a:cubicBezTo>
                  <a:cubicBezTo>
                    <a:pt x="471" y="49"/>
                    <a:pt x="471" y="49"/>
                    <a:pt x="471" y="49"/>
                  </a:cubicBezTo>
                  <a:cubicBezTo>
                    <a:pt x="471" y="22"/>
                    <a:pt x="450" y="1"/>
                    <a:pt x="423" y="1"/>
                  </a:cubicBezTo>
                  <a:cubicBezTo>
                    <a:pt x="192" y="0"/>
                    <a:pt x="192" y="0"/>
                    <a:pt x="192" y="0"/>
                  </a:cubicBezTo>
                  <a:cubicBezTo>
                    <a:pt x="166" y="0"/>
                    <a:pt x="144" y="22"/>
                    <a:pt x="144" y="48"/>
                  </a:cubicBezTo>
                  <a:cubicBezTo>
                    <a:pt x="144" y="275"/>
                    <a:pt x="144" y="275"/>
                    <a:pt x="144" y="275"/>
                  </a:cubicBezTo>
                  <a:cubicBezTo>
                    <a:pt x="144" y="277"/>
                    <a:pt x="144" y="279"/>
                    <a:pt x="144" y="281"/>
                  </a:cubicBezTo>
                  <a:cubicBezTo>
                    <a:pt x="142" y="308"/>
                    <a:pt x="131" y="346"/>
                    <a:pt x="89" y="359"/>
                  </a:cubicBezTo>
                  <a:cubicBezTo>
                    <a:pt x="48" y="359"/>
                    <a:pt x="48" y="359"/>
                    <a:pt x="48" y="359"/>
                  </a:cubicBezTo>
                  <a:cubicBezTo>
                    <a:pt x="21" y="359"/>
                    <a:pt x="0" y="380"/>
                    <a:pt x="0" y="407"/>
                  </a:cubicBezTo>
                  <a:cubicBezTo>
                    <a:pt x="0" y="461"/>
                    <a:pt x="0" y="461"/>
                    <a:pt x="0" y="461"/>
                  </a:cubicBezTo>
                  <a:cubicBezTo>
                    <a:pt x="0" y="488"/>
                    <a:pt x="21" y="509"/>
                    <a:pt x="48" y="509"/>
                  </a:cubicBezTo>
                  <a:cubicBezTo>
                    <a:pt x="96" y="509"/>
                    <a:pt x="96" y="509"/>
                    <a:pt x="96" y="509"/>
                  </a:cubicBezTo>
                  <a:cubicBezTo>
                    <a:pt x="122" y="509"/>
                    <a:pt x="144" y="488"/>
                    <a:pt x="144" y="462"/>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Calibri" panose="020F0502020204030204" pitchFamily="34" charset="0"/>
                  <a:ea typeface="宋体" panose="02010600030101010101" pitchFamily="2" charset="-122"/>
                </a:defRPr>
              </a:lvl1pPr>
              <a:lvl2pPr eaLnBrk="0" hangingPunct="0">
                <a:defRPr>
                  <a:solidFill>
                    <a:schemeClr val="tx1"/>
                  </a:solidFill>
                  <a:latin typeface="Calibri" panose="020F0502020204030204" pitchFamily="34" charset="0"/>
                  <a:ea typeface="宋体" panose="02010600030101010101" pitchFamily="2" charset="-122"/>
                </a:defRPr>
              </a:lvl2pPr>
              <a:lvl3pPr eaLnBrk="0" hangingPunct="0">
                <a:defRPr>
                  <a:solidFill>
                    <a:schemeClr val="tx1"/>
                  </a:solidFill>
                  <a:latin typeface="Calibri" panose="020F0502020204030204" pitchFamily="34" charset="0"/>
                  <a:ea typeface="宋体" panose="02010600030101010101" pitchFamily="2" charset="-122"/>
                </a:defRPr>
              </a:lvl3pPr>
              <a:lvl4pPr eaLnBrk="0" hangingPunct="0">
                <a:defRPr>
                  <a:solidFill>
                    <a:schemeClr val="tx1"/>
                  </a:solidFill>
                  <a:latin typeface="Calibri" panose="020F0502020204030204" pitchFamily="34" charset="0"/>
                  <a:ea typeface="宋体" panose="02010600030101010101" pitchFamily="2" charset="-122"/>
                </a:defRPr>
              </a:lvl4pPr>
              <a:lvl5pPr eaLnBrk="0" hangingPunct="0">
                <a:defRPr>
                  <a:solidFill>
                    <a:schemeClr val="tx1"/>
                  </a:solidFill>
                  <a:latin typeface="Calibri" panose="020F0502020204030204" pitchFamily="34" charset="0"/>
                  <a:ea typeface="宋体" panose="02010600030101010101" pitchFamily="2" charset="-122"/>
                </a:defRPr>
              </a:lvl5pPr>
              <a:lvl6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endParaRPr lang="zh-CN" altLang="en-US" sz="1300">
                <a:solidFill>
                  <a:sysClr val="windowText" lastClr="000000"/>
                </a:solidFill>
                <a:latin typeface="+mj-lt"/>
                <a:ea typeface="+mn-ea"/>
              </a:endParaRPr>
            </a:p>
          </p:txBody>
        </p:sp>
        <p:sp>
          <p:nvSpPr>
            <p:cNvPr id="49" name="Freeform 5">
              <a:extLst>
                <a:ext uri="{FF2B5EF4-FFF2-40B4-BE49-F238E27FC236}">
                  <a16:creationId xmlns:a16="http://schemas.microsoft.com/office/drawing/2014/main" id="{4AAB3264-46FD-BB88-9A79-15DC86044E64}"/>
                </a:ext>
              </a:extLst>
            </p:cNvPr>
            <p:cNvSpPr>
              <a:spLocks noChangeArrowheads="1"/>
            </p:cNvSpPr>
            <p:nvPr/>
          </p:nvSpPr>
          <p:spPr bwMode="auto">
            <a:xfrm>
              <a:off x="4077524" y="4127619"/>
              <a:ext cx="3049504" cy="2926815"/>
            </a:xfrm>
            <a:custGeom>
              <a:avLst/>
              <a:gdLst>
                <a:gd name="T0" fmla="*/ 462 w 510"/>
                <a:gd name="T1" fmla="*/ 326 h 470"/>
                <a:gd name="T2" fmla="*/ 407 w 510"/>
                <a:gd name="T3" fmla="*/ 326 h 470"/>
                <a:gd name="T4" fmla="*/ 404 w 510"/>
                <a:gd name="T5" fmla="*/ 327 h 470"/>
                <a:gd name="T6" fmla="*/ 323 w 510"/>
                <a:gd name="T7" fmla="*/ 244 h 470"/>
                <a:gd name="T8" fmla="*/ 323 w 510"/>
                <a:gd name="T9" fmla="*/ 48 h 470"/>
                <a:gd name="T10" fmla="*/ 275 w 510"/>
                <a:gd name="T11" fmla="*/ 0 h 470"/>
                <a:gd name="T12" fmla="*/ 48 w 510"/>
                <a:gd name="T13" fmla="*/ 0 h 470"/>
                <a:gd name="T14" fmla="*/ 0 w 510"/>
                <a:gd name="T15" fmla="*/ 48 h 470"/>
                <a:gd name="T16" fmla="*/ 0 w 510"/>
                <a:gd name="T17" fmla="*/ 278 h 470"/>
                <a:gd name="T18" fmla="*/ 48 w 510"/>
                <a:gd name="T19" fmla="*/ 326 h 470"/>
                <a:gd name="T20" fmla="*/ 275 w 510"/>
                <a:gd name="T21" fmla="*/ 326 h 470"/>
                <a:gd name="T22" fmla="*/ 281 w 510"/>
                <a:gd name="T23" fmla="*/ 326 h 470"/>
                <a:gd name="T24" fmla="*/ 359 w 510"/>
                <a:gd name="T25" fmla="*/ 381 h 470"/>
                <a:gd name="T26" fmla="*/ 359 w 510"/>
                <a:gd name="T27" fmla="*/ 422 h 470"/>
                <a:gd name="T28" fmla="*/ 407 w 510"/>
                <a:gd name="T29" fmla="*/ 470 h 470"/>
                <a:gd name="T30" fmla="*/ 462 w 510"/>
                <a:gd name="T31" fmla="*/ 470 h 470"/>
                <a:gd name="T32" fmla="*/ 510 w 510"/>
                <a:gd name="T33" fmla="*/ 422 h 470"/>
                <a:gd name="T34" fmla="*/ 510 w 510"/>
                <a:gd name="T35" fmla="*/ 374 h 470"/>
                <a:gd name="T36" fmla="*/ 462 w 510"/>
                <a:gd name="T37" fmla="*/ 32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0" h="470">
                  <a:moveTo>
                    <a:pt x="462" y="326"/>
                  </a:moveTo>
                  <a:cubicBezTo>
                    <a:pt x="407" y="326"/>
                    <a:pt x="407" y="326"/>
                    <a:pt x="407" y="326"/>
                  </a:cubicBezTo>
                  <a:cubicBezTo>
                    <a:pt x="406" y="326"/>
                    <a:pt x="405" y="326"/>
                    <a:pt x="404" y="327"/>
                  </a:cubicBezTo>
                  <a:cubicBezTo>
                    <a:pt x="390" y="327"/>
                    <a:pt x="338" y="322"/>
                    <a:pt x="323" y="244"/>
                  </a:cubicBezTo>
                  <a:cubicBezTo>
                    <a:pt x="323" y="48"/>
                    <a:pt x="323" y="48"/>
                    <a:pt x="323" y="48"/>
                  </a:cubicBezTo>
                  <a:cubicBezTo>
                    <a:pt x="323" y="21"/>
                    <a:pt x="302" y="0"/>
                    <a:pt x="275" y="0"/>
                  </a:cubicBezTo>
                  <a:cubicBezTo>
                    <a:pt x="48" y="0"/>
                    <a:pt x="48" y="0"/>
                    <a:pt x="48" y="0"/>
                  </a:cubicBezTo>
                  <a:cubicBezTo>
                    <a:pt x="22" y="0"/>
                    <a:pt x="0" y="21"/>
                    <a:pt x="0" y="48"/>
                  </a:cubicBezTo>
                  <a:cubicBezTo>
                    <a:pt x="0" y="278"/>
                    <a:pt x="0" y="278"/>
                    <a:pt x="0" y="278"/>
                  </a:cubicBezTo>
                  <a:cubicBezTo>
                    <a:pt x="0" y="305"/>
                    <a:pt x="22" y="326"/>
                    <a:pt x="48" y="326"/>
                  </a:cubicBezTo>
                  <a:cubicBezTo>
                    <a:pt x="275" y="326"/>
                    <a:pt x="275" y="326"/>
                    <a:pt x="275" y="326"/>
                  </a:cubicBezTo>
                  <a:cubicBezTo>
                    <a:pt x="277" y="326"/>
                    <a:pt x="279" y="326"/>
                    <a:pt x="281" y="326"/>
                  </a:cubicBezTo>
                  <a:cubicBezTo>
                    <a:pt x="309" y="328"/>
                    <a:pt x="346" y="339"/>
                    <a:pt x="359" y="381"/>
                  </a:cubicBezTo>
                  <a:cubicBezTo>
                    <a:pt x="359" y="422"/>
                    <a:pt x="359" y="422"/>
                    <a:pt x="359" y="422"/>
                  </a:cubicBezTo>
                  <a:cubicBezTo>
                    <a:pt x="359" y="449"/>
                    <a:pt x="380" y="470"/>
                    <a:pt x="407" y="470"/>
                  </a:cubicBezTo>
                  <a:cubicBezTo>
                    <a:pt x="462" y="470"/>
                    <a:pt x="462" y="470"/>
                    <a:pt x="462" y="470"/>
                  </a:cubicBezTo>
                  <a:cubicBezTo>
                    <a:pt x="488" y="470"/>
                    <a:pt x="510" y="449"/>
                    <a:pt x="510" y="422"/>
                  </a:cubicBezTo>
                  <a:cubicBezTo>
                    <a:pt x="510" y="374"/>
                    <a:pt x="510" y="374"/>
                    <a:pt x="510" y="374"/>
                  </a:cubicBezTo>
                  <a:cubicBezTo>
                    <a:pt x="510" y="348"/>
                    <a:pt x="488" y="326"/>
                    <a:pt x="462" y="32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Calibri" panose="020F0502020204030204" pitchFamily="34" charset="0"/>
                  <a:ea typeface="宋体" panose="02010600030101010101" pitchFamily="2" charset="-122"/>
                </a:defRPr>
              </a:lvl1pPr>
              <a:lvl2pPr eaLnBrk="0" hangingPunct="0">
                <a:defRPr>
                  <a:solidFill>
                    <a:schemeClr val="tx1"/>
                  </a:solidFill>
                  <a:latin typeface="Calibri" panose="020F0502020204030204" pitchFamily="34" charset="0"/>
                  <a:ea typeface="宋体" panose="02010600030101010101" pitchFamily="2" charset="-122"/>
                </a:defRPr>
              </a:lvl2pPr>
              <a:lvl3pPr eaLnBrk="0" hangingPunct="0">
                <a:defRPr>
                  <a:solidFill>
                    <a:schemeClr val="tx1"/>
                  </a:solidFill>
                  <a:latin typeface="Calibri" panose="020F0502020204030204" pitchFamily="34" charset="0"/>
                  <a:ea typeface="宋体" panose="02010600030101010101" pitchFamily="2" charset="-122"/>
                </a:defRPr>
              </a:lvl3pPr>
              <a:lvl4pPr eaLnBrk="0" hangingPunct="0">
                <a:defRPr>
                  <a:solidFill>
                    <a:schemeClr val="tx1"/>
                  </a:solidFill>
                  <a:latin typeface="Calibri" panose="020F0502020204030204" pitchFamily="34" charset="0"/>
                  <a:ea typeface="宋体" panose="02010600030101010101" pitchFamily="2" charset="-122"/>
                </a:defRPr>
              </a:lvl4pPr>
              <a:lvl5pPr eaLnBrk="0" hangingPunct="0">
                <a:defRPr>
                  <a:solidFill>
                    <a:schemeClr val="tx1"/>
                  </a:solidFill>
                  <a:latin typeface="Calibri" panose="020F0502020204030204" pitchFamily="34" charset="0"/>
                  <a:ea typeface="宋体" panose="02010600030101010101" pitchFamily="2" charset="-122"/>
                </a:defRPr>
              </a:lvl5pPr>
              <a:lvl6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endParaRPr lang="zh-CN" altLang="en-US" sz="1300">
                <a:solidFill>
                  <a:sysClr val="windowText" lastClr="000000"/>
                </a:solidFill>
                <a:latin typeface="+mj-lt"/>
                <a:ea typeface="+mn-ea"/>
              </a:endParaRPr>
            </a:p>
          </p:txBody>
        </p:sp>
        <p:sp>
          <p:nvSpPr>
            <p:cNvPr id="50" name="Freeform 8">
              <a:extLst>
                <a:ext uri="{FF2B5EF4-FFF2-40B4-BE49-F238E27FC236}">
                  <a16:creationId xmlns:a16="http://schemas.microsoft.com/office/drawing/2014/main" id="{492388EF-93CB-1A59-C795-3273D8E18886}"/>
                </a:ext>
              </a:extLst>
            </p:cNvPr>
            <p:cNvSpPr>
              <a:spLocks noChangeArrowheads="1"/>
            </p:cNvSpPr>
            <p:nvPr/>
          </p:nvSpPr>
          <p:spPr bwMode="auto">
            <a:xfrm>
              <a:off x="4874689" y="806925"/>
              <a:ext cx="3044570" cy="2933663"/>
            </a:xfrm>
            <a:custGeom>
              <a:avLst/>
              <a:gdLst>
                <a:gd name="T0" fmla="*/ 48 w 509"/>
                <a:gd name="T1" fmla="*/ 144 h 471"/>
                <a:gd name="T2" fmla="*/ 102 w 509"/>
                <a:gd name="T3" fmla="*/ 144 h 471"/>
                <a:gd name="T4" fmla="*/ 106 w 509"/>
                <a:gd name="T5" fmla="*/ 144 h 471"/>
                <a:gd name="T6" fmla="*/ 186 w 509"/>
                <a:gd name="T7" fmla="*/ 227 h 471"/>
                <a:gd name="T8" fmla="*/ 186 w 509"/>
                <a:gd name="T9" fmla="*/ 423 h 471"/>
                <a:gd name="T10" fmla="*/ 234 w 509"/>
                <a:gd name="T11" fmla="*/ 471 h 471"/>
                <a:gd name="T12" fmla="*/ 461 w 509"/>
                <a:gd name="T13" fmla="*/ 471 h 471"/>
                <a:gd name="T14" fmla="*/ 509 w 509"/>
                <a:gd name="T15" fmla="*/ 423 h 471"/>
                <a:gd name="T16" fmla="*/ 509 w 509"/>
                <a:gd name="T17" fmla="*/ 192 h 471"/>
                <a:gd name="T18" fmla="*/ 461 w 509"/>
                <a:gd name="T19" fmla="*/ 144 h 471"/>
                <a:gd name="T20" fmla="*/ 234 w 509"/>
                <a:gd name="T21" fmla="*/ 144 h 471"/>
                <a:gd name="T22" fmla="*/ 228 w 509"/>
                <a:gd name="T23" fmla="*/ 144 h 471"/>
                <a:gd name="T24" fmla="*/ 151 w 509"/>
                <a:gd name="T25" fmla="*/ 89 h 471"/>
                <a:gd name="T26" fmla="*/ 151 w 509"/>
                <a:gd name="T27" fmla="*/ 48 h 471"/>
                <a:gd name="T28" fmla="*/ 103 w 509"/>
                <a:gd name="T29" fmla="*/ 0 h 471"/>
                <a:gd name="T30" fmla="*/ 48 w 509"/>
                <a:gd name="T31" fmla="*/ 0 h 471"/>
                <a:gd name="T32" fmla="*/ 0 w 509"/>
                <a:gd name="T33" fmla="*/ 48 h 471"/>
                <a:gd name="T34" fmla="*/ 0 w 509"/>
                <a:gd name="T35" fmla="*/ 96 h 471"/>
                <a:gd name="T36" fmla="*/ 48 w 509"/>
                <a:gd name="T37" fmla="*/ 144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9" h="471">
                  <a:moveTo>
                    <a:pt x="48" y="144"/>
                  </a:moveTo>
                  <a:cubicBezTo>
                    <a:pt x="102" y="144"/>
                    <a:pt x="102" y="144"/>
                    <a:pt x="102" y="144"/>
                  </a:cubicBezTo>
                  <a:cubicBezTo>
                    <a:pt x="104" y="144"/>
                    <a:pt x="105" y="144"/>
                    <a:pt x="106" y="144"/>
                  </a:cubicBezTo>
                  <a:cubicBezTo>
                    <a:pt x="120" y="143"/>
                    <a:pt x="171" y="148"/>
                    <a:pt x="186" y="227"/>
                  </a:cubicBezTo>
                  <a:cubicBezTo>
                    <a:pt x="186" y="423"/>
                    <a:pt x="186" y="423"/>
                    <a:pt x="186" y="423"/>
                  </a:cubicBezTo>
                  <a:cubicBezTo>
                    <a:pt x="186" y="449"/>
                    <a:pt x="207" y="471"/>
                    <a:pt x="234" y="471"/>
                  </a:cubicBezTo>
                  <a:cubicBezTo>
                    <a:pt x="461" y="471"/>
                    <a:pt x="461" y="471"/>
                    <a:pt x="461" y="471"/>
                  </a:cubicBezTo>
                  <a:cubicBezTo>
                    <a:pt x="487" y="471"/>
                    <a:pt x="509" y="450"/>
                    <a:pt x="509" y="423"/>
                  </a:cubicBezTo>
                  <a:cubicBezTo>
                    <a:pt x="509" y="192"/>
                    <a:pt x="509" y="192"/>
                    <a:pt x="509" y="192"/>
                  </a:cubicBezTo>
                  <a:cubicBezTo>
                    <a:pt x="509" y="166"/>
                    <a:pt x="488" y="144"/>
                    <a:pt x="461" y="144"/>
                  </a:cubicBezTo>
                  <a:cubicBezTo>
                    <a:pt x="234" y="144"/>
                    <a:pt x="234" y="144"/>
                    <a:pt x="234" y="144"/>
                  </a:cubicBezTo>
                  <a:cubicBezTo>
                    <a:pt x="232" y="144"/>
                    <a:pt x="230" y="144"/>
                    <a:pt x="228" y="144"/>
                  </a:cubicBezTo>
                  <a:cubicBezTo>
                    <a:pt x="201" y="142"/>
                    <a:pt x="164" y="131"/>
                    <a:pt x="151" y="89"/>
                  </a:cubicBezTo>
                  <a:cubicBezTo>
                    <a:pt x="151" y="48"/>
                    <a:pt x="151" y="48"/>
                    <a:pt x="151" y="48"/>
                  </a:cubicBezTo>
                  <a:cubicBezTo>
                    <a:pt x="151" y="21"/>
                    <a:pt x="129" y="0"/>
                    <a:pt x="103" y="0"/>
                  </a:cubicBezTo>
                  <a:cubicBezTo>
                    <a:pt x="48" y="0"/>
                    <a:pt x="48" y="0"/>
                    <a:pt x="48" y="0"/>
                  </a:cubicBezTo>
                  <a:cubicBezTo>
                    <a:pt x="22" y="0"/>
                    <a:pt x="0" y="21"/>
                    <a:pt x="0" y="48"/>
                  </a:cubicBezTo>
                  <a:cubicBezTo>
                    <a:pt x="0" y="96"/>
                    <a:pt x="0" y="96"/>
                    <a:pt x="0" y="96"/>
                  </a:cubicBezTo>
                  <a:cubicBezTo>
                    <a:pt x="0" y="122"/>
                    <a:pt x="21" y="144"/>
                    <a:pt x="48" y="14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Calibri" panose="020F0502020204030204" pitchFamily="34" charset="0"/>
                  <a:ea typeface="宋体" panose="02010600030101010101" pitchFamily="2" charset="-122"/>
                </a:defRPr>
              </a:lvl1pPr>
              <a:lvl2pPr eaLnBrk="0" hangingPunct="0">
                <a:defRPr>
                  <a:solidFill>
                    <a:schemeClr val="tx1"/>
                  </a:solidFill>
                  <a:latin typeface="Calibri" panose="020F0502020204030204" pitchFamily="34" charset="0"/>
                  <a:ea typeface="宋体" panose="02010600030101010101" pitchFamily="2" charset="-122"/>
                </a:defRPr>
              </a:lvl2pPr>
              <a:lvl3pPr eaLnBrk="0" hangingPunct="0">
                <a:defRPr>
                  <a:solidFill>
                    <a:schemeClr val="tx1"/>
                  </a:solidFill>
                  <a:latin typeface="Calibri" panose="020F0502020204030204" pitchFamily="34" charset="0"/>
                  <a:ea typeface="宋体" panose="02010600030101010101" pitchFamily="2" charset="-122"/>
                </a:defRPr>
              </a:lvl3pPr>
              <a:lvl4pPr eaLnBrk="0" hangingPunct="0">
                <a:defRPr>
                  <a:solidFill>
                    <a:schemeClr val="tx1"/>
                  </a:solidFill>
                  <a:latin typeface="Calibri" panose="020F0502020204030204" pitchFamily="34" charset="0"/>
                  <a:ea typeface="宋体" panose="02010600030101010101" pitchFamily="2" charset="-122"/>
                </a:defRPr>
              </a:lvl4pPr>
              <a:lvl5pPr eaLnBrk="0" hangingPunct="0">
                <a:defRPr>
                  <a:solidFill>
                    <a:schemeClr val="tx1"/>
                  </a:solidFill>
                  <a:latin typeface="Calibri" panose="020F0502020204030204" pitchFamily="34" charset="0"/>
                  <a:ea typeface="宋体" panose="02010600030101010101" pitchFamily="2" charset="-122"/>
                </a:defRPr>
              </a:lvl5pPr>
              <a:lvl6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endParaRPr lang="zh-CN" altLang="en-US" sz="1300">
                <a:solidFill>
                  <a:sysClr val="windowText" lastClr="000000"/>
                </a:solidFill>
                <a:latin typeface="+mj-lt"/>
                <a:ea typeface="+mn-ea"/>
              </a:endParaRPr>
            </a:p>
          </p:txBody>
        </p:sp>
        <p:sp>
          <p:nvSpPr>
            <p:cNvPr id="51" name="Freeform 6">
              <a:extLst>
                <a:ext uri="{FF2B5EF4-FFF2-40B4-BE49-F238E27FC236}">
                  <a16:creationId xmlns:a16="http://schemas.microsoft.com/office/drawing/2014/main" id="{7E9646DF-14E5-9844-13B5-1D23E796407C}"/>
                </a:ext>
              </a:extLst>
            </p:cNvPr>
            <p:cNvSpPr>
              <a:spLocks noChangeArrowheads="1"/>
            </p:cNvSpPr>
            <p:nvPr/>
          </p:nvSpPr>
          <p:spPr bwMode="auto">
            <a:xfrm>
              <a:off x="6261147" y="2711213"/>
              <a:ext cx="2804557" cy="3224634"/>
            </a:xfrm>
            <a:custGeom>
              <a:avLst/>
              <a:gdLst>
                <a:gd name="T0" fmla="*/ 323 w 469"/>
                <a:gd name="T1" fmla="*/ 51 h 518"/>
                <a:gd name="T2" fmla="*/ 325 w 469"/>
                <a:gd name="T3" fmla="*/ 105 h 518"/>
                <a:gd name="T4" fmla="*/ 325 w 469"/>
                <a:gd name="T5" fmla="*/ 109 h 518"/>
                <a:gd name="T6" fmla="*/ 244 w 469"/>
                <a:gd name="T7" fmla="*/ 191 h 518"/>
                <a:gd name="T8" fmla="*/ 48 w 469"/>
                <a:gd name="T9" fmla="*/ 195 h 518"/>
                <a:gd name="T10" fmla="*/ 1 w 469"/>
                <a:gd name="T11" fmla="*/ 244 h 518"/>
                <a:gd name="T12" fmla="*/ 5 w 469"/>
                <a:gd name="T13" fmla="*/ 470 h 518"/>
                <a:gd name="T14" fmla="*/ 54 w 469"/>
                <a:gd name="T15" fmla="*/ 517 h 518"/>
                <a:gd name="T16" fmla="*/ 285 w 469"/>
                <a:gd name="T17" fmla="*/ 513 h 518"/>
                <a:gd name="T18" fmla="*/ 332 w 469"/>
                <a:gd name="T19" fmla="*/ 464 h 518"/>
                <a:gd name="T20" fmla="*/ 327 w 469"/>
                <a:gd name="T21" fmla="*/ 237 h 518"/>
                <a:gd name="T22" fmla="*/ 327 w 469"/>
                <a:gd name="T23" fmla="*/ 231 h 518"/>
                <a:gd name="T24" fmla="*/ 380 w 469"/>
                <a:gd name="T25" fmla="*/ 152 h 518"/>
                <a:gd name="T26" fmla="*/ 422 w 469"/>
                <a:gd name="T27" fmla="*/ 151 h 518"/>
                <a:gd name="T28" fmla="*/ 469 w 469"/>
                <a:gd name="T29" fmla="*/ 102 h 518"/>
                <a:gd name="T30" fmla="*/ 467 w 469"/>
                <a:gd name="T31" fmla="*/ 48 h 518"/>
                <a:gd name="T32" fmla="*/ 418 w 469"/>
                <a:gd name="T33" fmla="*/ 1 h 518"/>
                <a:gd name="T34" fmla="*/ 370 w 469"/>
                <a:gd name="T35" fmla="*/ 2 h 518"/>
                <a:gd name="T36" fmla="*/ 323 w 469"/>
                <a:gd name="T37" fmla="*/ 51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9" h="518">
                  <a:moveTo>
                    <a:pt x="323" y="51"/>
                  </a:moveTo>
                  <a:cubicBezTo>
                    <a:pt x="325" y="105"/>
                    <a:pt x="325" y="105"/>
                    <a:pt x="325" y="105"/>
                  </a:cubicBezTo>
                  <a:cubicBezTo>
                    <a:pt x="325" y="106"/>
                    <a:pt x="325" y="107"/>
                    <a:pt x="325" y="109"/>
                  </a:cubicBezTo>
                  <a:cubicBezTo>
                    <a:pt x="325" y="122"/>
                    <a:pt x="322" y="174"/>
                    <a:pt x="244" y="191"/>
                  </a:cubicBezTo>
                  <a:cubicBezTo>
                    <a:pt x="48" y="195"/>
                    <a:pt x="48" y="195"/>
                    <a:pt x="48" y="195"/>
                  </a:cubicBezTo>
                  <a:cubicBezTo>
                    <a:pt x="21" y="195"/>
                    <a:pt x="0" y="217"/>
                    <a:pt x="1" y="244"/>
                  </a:cubicBezTo>
                  <a:cubicBezTo>
                    <a:pt x="5" y="470"/>
                    <a:pt x="5" y="470"/>
                    <a:pt x="5" y="470"/>
                  </a:cubicBezTo>
                  <a:cubicBezTo>
                    <a:pt x="6" y="497"/>
                    <a:pt x="28" y="518"/>
                    <a:pt x="54" y="517"/>
                  </a:cubicBezTo>
                  <a:cubicBezTo>
                    <a:pt x="285" y="513"/>
                    <a:pt x="285" y="513"/>
                    <a:pt x="285" y="513"/>
                  </a:cubicBezTo>
                  <a:cubicBezTo>
                    <a:pt x="311" y="512"/>
                    <a:pt x="332" y="490"/>
                    <a:pt x="332" y="464"/>
                  </a:cubicBezTo>
                  <a:cubicBezTo>
                    <a:pt x="327" y="237"/>
                    <a:pt x="327" y="237"/>
                    <a:pt x="327" y="237"/>
                  </a:cubicBezTo>
                  <a:cubicBezTo>
                    <a:pt x="327" y="235"/>
                    <a:pt x="327" y="233"/>
                    <a:pt x="327" y="231"/>
                  </a:cubicBezTo>
                  <a:cubicBezTo>
                    <a:pt x="329" y="204"/>
                    <a:pt x="339" y="166"/>
                    <a:pt x="380" y="152"/>
                  </a:cubicBezTo>
                  <a:cubicBezTo>
                    <a:pt x="422" y="151"/>
                    <a:pt x="422" y="151"/>
                    <a:pt x="422" y="151"/>
                  </a:cubicBezTo>
                  <a:cubicBezTo>
                    <a:pt x="448" y="151"/>
                    <a:pt x="469" y="129"/>
                    <a:pt x="469" y="102"/>
                  </a:cubicBezTo>
                  <a:cubicBezTo>
                    <a:pt x="467" y="48"/>
                    <a:pt x="467" y="48"/>
                    <a:pt x="467" y="48"/>
                  </a:cubicBezTo>
                  <a:cubicBezTo>
                    <a:pt x="467" y="21"/>
                    <a:pt x="445" y="0"/>
                    <a:pt x="418" y="1"/>
                  </a:cubicBezTo>
                  <a:cubicBezTo>
                    <a:pt x="370" y="2"/>
                    <a:pt x="370" y="2"/>
                    <a:pt x="370" y="2"/>
                  </a:cubicBezTo>
                  <a:cubicBezTo>
                    <a:pt x="344" y="2"/>
                    <a:pt x="323" y="24"/>
                    <a:pt x="323" y="51"/>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Calibri" panose="020F0502020204030204" pitchFamily="34" charset="0"/>
                  <a:ea typeface="宋体" panose="02010600030101010101" pitchFamily="2" charset="-122"/>
                </a:defRPr>
              </a:lvl1pPr>
              <a:lvl2pPr eaLnBrk="0" hangingPunct="0">
                <a:defRPr>
                  <a:solidFill>
                    <a:schemeClr val="tx1"/>
                  </a:solidFill>
                  <a:latin typeface="Calibri" panose="020F0502020204030204" pitchFamily="34" charset="0"/>
                  <a:ea typeface="宋体" panose="02010600030101010101" pitchFamily="2" charset="-122"/>
                </a:defRPr>
              </a:lvl2pPr>
              <a:lvl3pPr eaLnBrk="0" hangingPunct="0">
                <a:defRPr>
                  <a:solidFill>
                    <a:schemeClr val="tx1"/>
                  </a:solidFill>
                  <a:latin typeface="Calibri" panose="020F0502020204030204" pitchFamily="34" charset="0"/>
                  <a:ea typeface="宋体" panose="02010600030101010101" pitchFamily="2" charset="-122"/>
                </a:defRPr>
              </a:lvl3pPr>
              <a:lvl4pPr eaLnBrk="0" hangingPunct="0">
                <a:defRPr>
                  <a:solidFill>
                    <a:schemeClr val="tx1"/>
                  </a:solidFill>
                  <a:latin typeface="Calibri" panose="020F0502020204030204" pitchFamily="34" charset="0"/>
                  <a:ea typeface="宋体" panose="02010600030101010101" pitchFamily="2" charset="-122"/>
                </a:defRPr>
              </a:lvl4pPr>
              <a:lvl5pPr eaLnBrk="0" hangingPunct="0">
                <a:defRPr>
                  <a:solidFill>
                    <a:schemeClr val="tx1"/>
                  </a:solidFill>
                  <a:latin typeface="Calibri" panose="020F0502020204030204" pitchFamily="34" charset="0"/>
                  <a:ea typeface="宋体" panose="02010600030101010101" pitchFamily="2" charset="-122"/>
                </a:defRPr>
              </a:lvl5pPr>
              <a:lvl6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endParaRPr lang="zh-CN" altLang="en-US" sz="1300">
                <a:solidFill>
                  <a:sysClr val="windowText" lastClr="000000"/>
                </a:solidFill>
                <a:latin typeface="+mj-lt"/>
                <a:ea typeface="+mn-ea"/>
              </a:endParaRPr>
            </a:p>
          </p:txBody>
        </p:sp>
        <p:sp>
          <p:nvSpPr>
            <p:cNvPr id="53" name="TextBox 13">
              <a:extLst>
                <a:ext uri="{FF2B5EF4-FFF2-40B4-BE49-F238E27FC236}">
                  <a16:creationId xmlns:a16="http://schemas.microsoft.com/office/drawing/2014/main" id="{4F4AC6A7-6C88-8E67-5C0F-4805AD17CBEB}"/>
                </a:ext>
              </a:extLst>
            </p:cNvPr>
            <p:cNvSpPr txBox="1">
              <a:spLocks noChangeArrowheads="1"/>
            </p:cNvSpPr>
            <p:nvPr/>
          </p:nvSpPr>
          <p:spPr bwMode="auto">
            <a:xfrm>
              <a:off x="8152479" y="1143415"/>
              <a:ext cx="4113220" cy="1051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dirty="0">
                  <a:solidFill>
                    <a:sysClr val="windowText" lastClr="000000"/>
                  </a:solidFill>
                  <a:latin typeface="+mj-lt"/>
                  <a:ea typeface="微软雅黑" panose="020B0503020204020204" pitchFamily="34" charset="-122"/>
                  <a:sym typeface="+mn-lt"/>
                </a:rPr>
                <a:t>As consumer confidence recovers, consumers will prioritise brands that they trust. </a:t>
              </a:r>
            </a:p>
            <a:p>
              <a:pPr eaLnBrk="1" hangingPunct="1"/>
              <a:endParaRPr lang="en-US" altLang="zh-CN" sz="1300" dirty="0">
                <a:solidFill>
                  <a:sysClr val="windowText" lastClr="000000"/>
                </a:solidFill>
                <a:latin typeface="+mj-lt"/>
                <a:ea typeface="微软雅黑" panose="020B0503020204020204" pitchFamily="34" charset="-122"/>
                <a:sym typeface="+mn-lt"/>
              </a:endParaRPr>
            </a:p>
          </p:txBody>
        </p:sp>
        <p:sp>
          <p:nvSpPr>
            <p:cNvPr id="55" name="TextBox 13">
              <a:extLst>
                <a:ext uri="{FF2B5EF4-FFF2-40B4-BE49-F238E27FC236}">
                  <a16:creationId xmlns:a16="http://schemas.microsoft.com/office/drawing/2014/main" id="{D1CDE39F-B3E7-2A69-25DD-C4C3A4D7043E}"/>
                </a:ext>
              </a:extLst>
            </p:cNvPr>
            <p:cNvSpPr txBox="1">
              <a:spLocks noChangeArrowheads="1"/>
            </p:cNvSpPr>
            <p:nvPr/>
          </p:nvSpPr>
          <p:spPr bwMode="auto">
            <a:xfrm>
              <a:off x="8564562" y="4422777"/>
              <a:ext cx="4369743" cy="15768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1300">
                  <a:solidFill>
                    <a:sysClr val="windowText" lastClr="000000"/>
                  </a:solidFill>
                  <a:latin typeface="+mj-lt"/>
                  <a:ea typeface="微软雅黑" panose="020B0503020204020204" pitchFamily="34" charset="-122"/>
                  <a:sym typeface="+mn-lt"/>
                </a:rPr>
                <a:t>Improving productivity will be critical to remain competitive in a rapidly changing marketplace. </a:t>
              </a:r>
            </a:p>
            <a:p>
              <a:pPr eaLnBrk="1" hangingPunct="1"/>
              <a:endParaRPr lang="en-US" altLang="zh-CN" sz="1300">
                <a:solidFill>
                  <a:sysClr val="windowText" lastClr="000000"/>
                </a:solidFill>
                <a:latin typeface="+mj-lt"/>
                <a:ea typeface="微软雅黑" panose="020B0503020204020204" pitchFamily="34" charset="-122"/>
                <a:sym typeface="+mn-lt"/>
              </a:endParaRPr>
            </a:p>
            <a:p>
              <a:pPr eaLnBrk="1" hangingPunct="1"/>
              <a:r>
                <a:rPr lang="en-US" altLang="zh-CN" sz="1300">
                  <a:solidFill>
                    <a:sysClr val="windowText" lastClr="000000"/>
                  </a:solidFill>
                  <a:latin typeface="+mj-lt"/>
                  <a:ea typeface="微软雅黑" panose="020B0503020204020204" pitchFamily="34" charset="-122"/>
                  <a:sym typeface="+mn-lt"/>
                </a:rPr>
                <a:t>Retailers need to invest early to prepare for the future.</a:t>
              </a:r>
              <a:endParaRPr lang="zh-CN" altLang="en-US" sz="1300">
                <a:solidFill>
                  <a:sysClr val="windowText" lastClr="000000"/>
                </a:solidFill>
                <a:latin typeface="+mj-lt"/>
                <a:ea typeface="微软雅黑" panose="020B0503020204020204" pitchFamily="34" charset="-122"/>
                <a:sym typeface="+mn-lt"/>
              </a:endParaRPr>
            </a:p>
          </p:txBody>
        </p:sp>
        <p:sp>
          <p:nvSpPr>
            <p:cNvPr id="57" name="TextBox 13">
              <a:extLst>
                <a:ext uri="{FF2B5EF4-FFF2-40B4-BE49-F238E27FC236}">
                  <a16:creationId xmlns:a16="http://schemas.microsoft.com/office/drawing/2014/main" id="{D2A58476-AFAC-48EF-A968-35E39C816525}"/>
                </a:ext>
              </a:extLst>
            </p:cNvPr>
            <p:cNvSpPr txBox="1">
              <a:spLocks noChangeArrowheads="1"/>
            </p:cNvSpPr>
            <p:nvPr/>
          </p:nvSpPr>
          <p:spPr bwMode="auto">
            <a:xfrm>
              <a:off x="632933" y="2017552"/>
              <a:ext cx="2817708" cy="1314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r" eaLnBrk="1" hangingPunct="1"/>
              <a:r>
                <a:rPr lang="en-US" altLang="zh-CN" sz="1300" dirty="0">
                  <a:solidFill>
                    <a:sysClr val="windowText" lastClr="000000"/>
                  </a:solidFill>
                  <a:latin typeface="+mj-lt"/>
                  <a:ea typeface="微软雅黑" panose="020B0503020204020204" pitchFamily="34" charset="-122"/>
                  <a:sym typeface="+mn-lt"/>
                </a:rPr>
                <a:t>Different groups of consumers will continue to spend differently in the year ahead. </a:t>
              </a:r>
            </a:p>
            <a:p>
              <a:pPr algn="r" eaLnBrk="1" hangingPunct="1"/>
              <a:endParaRPr lang="en-US" altLang="zh-CN" sz="1300" dirty="0">
                <a:solidFill>
                  <a:sysClr val="windowText" lastClr="000000"/>
                </a:solidFill>
                <a:latin typeface="+mj-lt"/>
                <a:ea typeface="微软雅黑" panose="020B0503020204020204" pitchFamily="34" charset="-122"/>
                <a:sym typeface="+mn-lt"/>
              </a:endParaRPr>
            </a:p>
          </p:txBody>
        </p:sp>
        <p:sp>
          <p:nvSpPr>
            <p:cNvPr id="59" name="TextBox 13">
              <a:extLst>
                <a:ext uri="{FF2B5EF4-FFF2-40B4-BE49-F238E27FC236}">
                  <a16:creationId xmlns:a16="http://schemas.microsoft.com/office/drawing/2014/main" id="{41AEC894-901C-FF7A-0EF4-448B4FC7CB92}"/>
                </a:ext>
              </a:extLst>
            </p:cNvPr>
            <p:cNvSpPr txBox="1">
              <a:spLocks noChangeArrowheads="1"/>
            </p:cNvSpPr>
            <p:nvPr/>
          </p:nvSpPr>
          <p:spPr bwMode="auto">
            <a:xfrm>
              <a:off x="-372430" y="5271252"/>
              <a:ext cx="4186056" cy="15768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r" eaLnBrk="1" hangingPunct="1"/>
              <a:r>
                <a:rPr lang="en-US" altLang="zh-CN" sz="1300" dirty="0">
                  <a:latin typeface="+mj-lt"/>
                  <a:ea typeface="微软雅黑" panose="020B0503020204020204" pitchFamily="34" charset="-122"/>
                  <a:sym typeface="+mn-lt"/>
                </a:rPr>
                <a:t>The skills needed in the industry continue to evolve with increasing automation. </a:t>
              </a:r>
            </a:p>
            <a:p>
              <a:pPr algn="r" eaLnBrk="1" hangingPunct="1"/>
              <a:br>
                <a:rPr lang="en-US" altLang="zh-CN" sz="1300" dirty="0">
                  <a:latin typeface="+mj-lt"/>
                  <a:ea typeface="微软雅黑" panose="020B0503020204020204" pitchFamily="34" charset="-122"/>
                  <a:sym typeface="+mn-lt"/>
                </a:rPr>
              </a:br>
              <a:r>
                <a:rPr lang="en-US" altLang="zh-CN" sz="1300" dirty="0">
                  <a:latin typeface="+mj-lt"/>
                  <a:ea typeface="微软雅黑" panose="020B0503020204020204" pitchFamily="34" charset="-122"/>
                  <a:sym typeface="+mn-lt"/>
                </a:rPr>
                <a:t>Training must keep up with technological changes. </a:t>
              </a:r>
              <a:endParaRPr lang="zh-CN" altLang="en-US" sz="1300" dirty="0">
                <a:latin typeface="+mj-lt"/>
                <a:ea typeface="微软雅黑" panose="020B0503020204020204" pitchFamily="34" charset="-122"/>
                <a:sym typeface="+mn-lt"/>
              </a:endParaRPr>
            </a:p>
          </p:txBody>
        </p:sp>
        <p:sp>
          <p:nvSpPr>
            <p:cNvPr id="60" name="TextBox 13">
              <a:extLst>
                <a:ext uri="{FF2B5EF4-FFF2-40B4-BE49-F238E27FC236}">
                  <a16:creationId xmlns:a16="http://schemas.microsoft.com/office/drawing/2014/main" id="{DDA5538C-D6DA-143B-97D1-56E369D9FB49}"/>
                </a:ext>
              </a:extLst>
            </p:cNvPr>
            <p:cNvSpPr txBox="1">
              <a:spLocks noChangeArrowheads="1"/>
            </p:cNvSpPr>
            <p:nvPr/>
          </p:nvSpPr>
          <p:spPr bwMode="auto">
            <a:xfrm>
              <a:off x="3885625" y="2380765"/>
              <a:ext cx="1748638" cy="1051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1300" b="1">
                  <a:solidFill>
                    <a:schemeClr val="bg1"/>
                  </a:solidFill>
                  <a:latin typeface="+mj-lt"/>
                  <a:ea typeface="+mn-ea"/>
                  <a:sym typeface="Arial" panose="020B0604020202020204" pitchFamily="34" charset="0"/>
                </a:rPr>
                <a:t>Consumer segments to diverge further</a:t>
              </a:r>
            </a:p>
          </p:txBody>
        </p:sp>
        <p:sp>
          <p:nvSpPr>
            <p:cNvPr id="61" name="TextBox 13">
              <a:extLst>
                <a:ext uri="{FF2B5EF4-FFF2-40B4-BE49-F238E27FC236}">
                  <a16:creationId xmlns:a16="http://schemas.microsoft.com/office/drawing/2014/main" id="{D5C56F2F-8BF7-FA6E-F32B-822CF95E51E6}"/>
                </a:ext>
              </a:extLst>
            </p:cNvPr>
            <p:cNvSpPr txBox="1">
              <a:spLocks noChangeArrowheads="1"/>
            </p:cNvSpPr>
            <p:nvPr/>
          </p:nvSpPr>
          <p:spPr bwMode="auto">
            <a:xfrm>
              <a:off x="6097728" y="2164432"/>
              <a:ext cx="1673801" cy="1051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1300" b="1">
                  <a:solidFill>
                    <a:schemeClr val="bg1"/>
                  </a:solidFill>
                  <a:latin typeface="+mj-lt"/>
                  <a:sym typeface="Arial" panose="020B0604020202020204" pitchFamily="34" charset="0"/>
                </a:rPr>
                <a:t>Consumers will look to brands they trust</a:t>
              </a:r>
            </a:p>
          </p:txBody>
        </p:sp>
        <p:sp>
          <p:nvSpPr>
            <p:cNvPr id="62" name="TextBox 13">
              <a:extLst>
                <a:ext uri="{FF2B5EF4-FFF2-40B4-BE49-F238E27FC236}">
                  <a16:creationId xmlns:a16="http://schemas.microsoft.com/office/drawing/2014/main" id="{08B81AA6-909E-5128-A71A-9446BDAF8BA0}"/>
                </a:ext>
              </a:extLst>
            </p:cNvPr>
            <p:cNvSpPr txBox="1">
              <a:spLocks noChangeArrowheads="1"/>
            </p:cNvSpPr>
            <p:nvPr/>
          </p:nvSpPr>
          <p:spPr bwMode="auto">
            <a:xfrm>
              <a:off x="4262199" y="4755656"/>
              <a:ext cx="1511744" cy="525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1300" b="1">
                  <a:solidFill>
                    <a:schemeClr val="bg1"/>
                  </a:solidFill>
                  <a:latin typeface="+mj-lt"/>
                  <a:sym typeface="Arial" panose="020B0604020202020204" pitchFamily="34" charset="0"/>
                </a:rPr>
                <a:t>Invest in workforce</a:t>
              </a:r>
            </a:p>
          </p:txBody>
        </p:sp>
        <p:sp>
          <p:nvSpPr>
            <p:cNvPr id="63" name="TextBox 13">
              <a:extLst>
                <a:ext uri="{FF2B5EF4-FFF2-40B4-BE49-F238E27FC236}">
                  <a16:creationId xmlns:a16="http://schemas.microsoft.com/office/drawing/2014/main" id="{2BED5A2F-B8BD-3620-1B18-F4BB125A3658}"/>
                </a:ext>
              </a:extLst>
            </p:cNvPr>
            <p:cNvSpPr txBox="1">
              <a:spLocks noChangeArrowheads="1"/>
            </p:cNvSpPr>
            <p:nvPr/>
          </p:nvSpPr>
          <p:spPr bwMode="auto">
            <a:xfrm>
              <a:off x="6301737" y="4356054"/>
              <a:ext cx="1850742" cy="1051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216025" eaLnBrk="0" hangingPunct="0">
                <a:defRPr>
                  <a:solidFill>
                    <a:schemeClr val="tx1"/>
                  </a:solidFill>
                  <a:latin typeface="Calibri" panose="020F0502020204030204" pitchFamily="34" charset="0"/>
                  <a:ea typeface="宋体" panose="02010600030101010101" pitchFamily="2" charset="-122"/>
                </a:defRPr>
              </a:lvl1pPr>
              <a:lvl2pPr defTabSz="1216025" eaLnBrk="0" hangingPunct="0">
                <a:defRPr>
                  <a:solidFill>
                    <a:schemeClr val="tx1"/>
                  </a:solidFill>
                  <a:latin typeface="Calibri" panose="020F0502020204030204" pitchFamily="34" charset="0"/>
                  <a:ea typeface="宋体" panose="02010600030101010101" pitchFamily="2" charset="-122"/>
                </a:defRPr>
              </a:lvl2pPr>
              <a:lvl3pPr defTabSz="1216025" eaLnBrk="0" hangingPunct="0">
                <a:defRPr>
                  <a:solidFill>
                    <a:schemeClr val="tx1"/>
                  </a:solidFill>
                  <a:latin typeface="Calibri" panose="020F0502020204030204" pitchFamily="34" charset="0"/>
                  <a:ea typeface="宋体" panose="02010600030101010101" pitchFamily="2" charset="-122"/>
                </a:defRPr>
              </a:lvl3pPr>
              <a:lvl4pPr defTabSz="1216025" eaLnBrk="0" hangingPunct="0">
                <a:defRPr>
                  <a:solidFill>
                    <a:schemeClr val="tx1"/>
                  </a:solidFill>
                  <a:latin typeface="Calibri" panose="020F0502020204030204" pitchFamily="34" charset="0"/>
                  <a:ea typeface="宋体" panose="02010600030101010101" pitchFamily="2" charset="-122"/>
                </a:defRPr>
              </a:lvl4pPr>
              <a:lvl5pPr defTabSz="1216025" eaLnBrk="0" hangingPunct="0">
                <a:defRPr>
                  <a:solidFill>
                    <a:schemeClr val="tx1"/>
                  </a:solidFill>
                  <a:latin typeface="Calibri" panose="020F0502020204030204" pitchFamily="34" charset="0"/>
                  <a:ea typeface="宋体" panose="02010600030101010101" pitchFamily="2" charset="-122"/>
                </a:defRPr>
              </a:lvl5pPr>
              <a:lvl6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defTabSz="1216025"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eaLnBrk="1" hangingPunct="1"/>
              <a:r>
                <a:rPr lang="en-US" altLang="zh-CN" sz="1300" b="1" dirty="0">
                  <a:solidFill>
                    <a:schemeClr val="bg1"/>
                  </a:solidFill>
                  <a:latin typeface="+mj-lt"/>
                  <a:sym typeface="Arial" panose="020B0604020202020204" pitchFamily="34" charset="0"/>
                </a:rPr>
                <a:t>Productivity should be front and </a:t>
              </a:r>
              <a:r>
                <a:rPr lang="en-US" altLang="zh-CN" sz="1300" b="1" dirty="0" err="1">
                  <a:solidFill>
                    <a:schemeClr val="bg1"/>
                  </a:solidFill>
                  <a:latin typeface="+mj-lt"/>
                  <a:sym typeface="Arial" panose="020B0604020202020204" pitchFamily="34" charset="0"/>
                </a:rPr>
                <a:t>centre</a:t>
              </a:r>
              <a:endParaRPr lang="en-US" altLang="zh-CN" sz="1300" b="1" dirty="0">
                <a:solidFill>
                  <a:schemeClr val="bg1"/>
                </a:solidFill>
                <a:latin typeface="+mj-lt"/>
                <a:sym typeface="Arial" panose="020B0604020202020204" pitchFamily="34" charset="0"/>
              </a:endParaRPr>
            </a:p>
          </p:txBody>
        </p:sp>
      </p:grpSp>
      <p:grpSp>
        <p:nvGrpSpPr>
          <p:cNvPr id="64" name="Group 447">
            <a:extLst>
              <a:ext uri="{FF2B5EF4-FFF2-40B4-BE49-F238E27FC236}">
                <a16:creationId xmlns:a16="http://schemas.microsoft.com/office/drawing/2014/main" id="{700C7F02-832E-6C23-3E22-9A940172FC91}"/>
              </a:ext>
            </a:extLst>
          </p:cNvPr>
          <p:cNvGrpSpPr>
            <a:grpSpLocks noChangeAspect="1"/>
          </p:cNvGrpSpPr>
          <p:nvPr/>
        </p:nvGrpSpPr>
        <p:grpSpPr bwMode="auto">
          <a:xfrm>
            <a:off x="3826965" y="4295890"/>
            <a:ext cx="327203" cy="327204"/>
            <a:chOff x="5601" y="1820"/>
            <a:chExt cx="340" cy="340"/>
          </a:xfrm>
          <a:solidFill>
            <a:schemeClr val="bg1"/>
          </a:solidFill>
        </p:grpSpPr>
        <p:sp>
          <p:nvSpPr>
            <p:cNvPr id="65" name="Freeform 448">
              <a:extLst>
                <a:ext uri="{FF2B5EF4-FFF2-40B4-BE49-F238E27FC236}">
                  <a16:creationId xmlns:a16="http://schemas.microsoft.com/office/drawing/2014/main" id="{C8ADC756-3F80-02F7-560C-68219BE6B036}"/>
                </a:ext>
              </a:extLst>
            </p:cNvPr>
            <p:cNvSpPr>
              <a:spLocks noEditPoints="1"/>
            </p:cNvSpPr>
            <p:nvPr/>
          </p:nvSpPr>
          <p:spPr bwMode="auto">
            <a:xfrm>
              <a:off x="5679" y="1948"/>
              <a:ext cx="182" cy="85"/>
            </a:xfrm>
            <a:custGeom>
              <a:avLst/>
              <a:gdLst>
                <a:gd name="T0" fmla="*/ 131 w 275"/>
                <a:gd name="T1" fmla="*/ 43 h 128"/>
                <a:gd name="T2" fmla="*/ 122 w 275"/>
                <a:gd name="T3" fmla="*/ 37 h 128"/>
                <a:gd name="T4" fmla="*/ 64 w 275"/>
                <a:gd name="T5" fmla="*/ 0 h 128"/>
                <a:gd name="T6" fmla="*/ 0 w 275"/>
                <a:gd name="T7" fmla="*/ 64 h 128"/>
                <a:gd name="T8" fmla="*/ 64 w 275"/>
                <a:gd name="T9" fmla="*/ 128 h 128"/>
                <a:gd name="T10" fmla="*/ 122 w 275"/>
                <a:gd name="T11" fmla="*/ 92 h 128"/>
                <a:gd name="T12" fmla="*/ 131 w 275"/>
                <a:gd name="T13" fmla="*/ 86 h 128"/>
                <a:gd name="T14" fmla="*/ 177 w 275"/>
                <a:gd name="T15" fmla="*/ 86 h 128"/>
                <a:gd name="T16" fmla="*/ 195 w 275"/>
                <a:gd name="T17" fmla="*/ 67 h 128"/>
                <a:gd name="T18" fmla="*/ 210 w 275"/>
                <a:gd name="T19" fmla="*/ 67 h 128"/>
                <a:gd name="T20" fmla="*/ 224 w 275"/>
                <a:gd name="T21" fmla="*/ 81 h 128"/>
                <a:gd name="T22" fmla="*/ 238 w 275"/>
                <a:gd name="T23" fmla="*/ 67 h 128"/>
                <a:gd name="T24" fmla="*/ 253 w 275"/>
                <a:gd name="T25" fmla="*/ 67 h 128"/>
                <a:gd name="T26" fmla="*/ 265 w 275"/>
                <a:gd name="T27" fmla="*/ 79 h 128"/>
                <a:gd name="T28" fmla="*/ 275 w 275"/>
                <a:gd name="T29" fmla="*/ 64 h 128"/>
                <a:gd name="T30" fmla="*/ 261 w 275"/>
                <a:gd name="T31" fmla="*/ 43 h 128"/>
                <a:gd name="T32" fmla="*/ 131 w 275"/>
                <a:gd name="T33" fmla="*/ 43 h 128"/>
                <a:gd name="T34" fmla="*/ 53 w 275"/>
                <a:gd name="T35" fmla="*/ 85 h 128"/>
                <a:gd name="T36" fmla="*/ 32 w 275"/>
                <a:gd name="T37" fmla="*/ 64 h 128"/>
                <a:gd name="T38" fmla="*/ 53 w 275"/>
                <a:gd name="T39" fmla="*/ 43 h 128"/>
                <a:gd name="T40" fmla="*/ 75 w 275"/>
                <a:gd name="T41" fmla="*/ 64 h 128"/>
                <a:gd name="T42" fmla="*/ 53 w 275"/>
                <a:gd name="T43" fmla="*/ 8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5" h="128">
                  <a:moveTo>
                    <a:pt x="131" y="43"/>
                  </a:moveTo>
                  <a:cubicBezTo>
                    <a:pt x="127" y="43"/>
                    <a:pt x="124" y="41"/>
                    <a:pt x="122" y="37"/>
                  </a:cubicBezTo>
                  <a:cubicBezTo>
                    <a:pt x="111" y="15"/>
                    <a:pt x="89" y="0"/>
                    <a:pt x="64" y="0"/>
                  </a:cubicBezTo>
                  <a:cubicBezTo>
                    <a:pt x="29" y="0"/>
                    <a:pt x="0" y="29"/>
                    <a:pt x="0" y="64"/>
                  </a:cubicBezTo>
                  <a:cubicBezTo>
                    <a:pt x="0" y="99"/>
                    <a:pt x="29" y="128"/>
                    <a:pt x="64" y="128"/>
                  </a:cubicBezTo>
                  <a:cubicBezTo>
                    <a:pt x="89" y="128"/>
                    <a:pt x="111" y="114"/>
                    <a:pt x="122" y="92"/>
                  </a:cubicBezTo>
                  <a:cubicBezTo>
                    <a:pt x="124" y="88"/>
                    <a:pt x="127" y="86"/>
                    <a:pt x="131" y="86"/>
                  </a:cubicBezTo>
                  <a:cubicBezTo>
                    <a:pt x="177" y="86"/>
                    <a:pt x="177" y="86"/>
                    <a:pt x="177" y="86"/>
                  </a:cubicBezTo>
                  <a:cubicBezTo>
                    <a:pt x="195" y="67"/>
                    <a:pt x="195" y="67"/>
                    <a:pt x="195" y="67"/>
                  </a:cubicBezTo>
                  <a:cubicBezTo>
                    <a:pt x="199" y="63"/>
                    <a:pt x="206" y="63"/>
                    <a:pt x="210" y="67"/>
                  </a:cubicBezTo>
                  <a:cubicBezTo>
                    <a:pt x="224" y="81"/>
                    <a:pt x="224" y="81"/>
                    <a:pt x="224" y="81"/>
                  </a:cubicBezTo>
                  <a:cubicBezTo>
                    <a:pt x="238" y="67"/>
                    <a:pt x="238" y="67"/>
                    <a:pt x="238" y="67"/>
                  </a:cubicBezTo>
                  <a:cubicBezTo>
                    <a:pt x="242" y="63"/>
                    <a:pt x="249" y="63"/>
                    <a:pt x="253" y="67"/>
                  </a:cubicBezTo>
                  <a:cubicBezTo>
                    <a:pt x="265" y="79"/>
                    <a:pt x="265" y="79"/>
                    <a:pt x="265" y="79"/>
                  </a:cubicBezTo>
                  <a:cubicBezTo>
                    <a:pt x="275" y="64"/>
                    <a:pt x="275" y="64"/>
                    <a:pt x="275" y="64"/>
                  </a:cubicBezTo>
                  <a:cubicBezTo>
                    <a:pt x="261" y="43"/>
                    <a:pt x="261" y="43"/>
                    <a:pt x="261" y="43"/>
                  </a:cubicBezTo>
                  <a:lnTo>
                    <a:pt x="131" y="43"/>
                  </a:lnTo>
                  <a:close/>
                  <a:moveTo>
                    <a:pt x="53" y="85"/>
                  </a:moveTo>
                  <a:cubicBezTo>
                    <a:pt x="42" y="85"/>
                    <a:pt x="32" y="76"/>
                    <a:pt x="32" y="64"/>
                  </a:cubicBezTo>
                  <a:cubicBezTo>
                    <a:pt x="32" y="52"/>
                    <a:pt x="42" y="43"/>
                    <a:pt x="53" y="43"/>
                  </a:cubicBezTo>
                  <a:cubicBezTo>
                    <a:pt x="65" y="43"/>
                    <a:pt x="75" y="52"/>
                    <a:pt x="75" y="64"/>
                  </a:cubicBezTo>
                  <a:cubicBezTo>
                    <a:pt x="75" y="76"/>
                    <a:pt x="65" y="85"/>
                    <a:pt x="53"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sp>
          <p:nvSpPr>
            <p:cNvPr id="66" name="Freeform 449">
              <a:extLst>
                <a:ext uri="{FF2B5EF4-FFF2-40B4-BE49-F238E27FC236}">
                  <a16:creationId xmlns:a16="http://schemas.microsoft.com/office/drawing/2014/main" id="{465FA064-777C-5EF1-BF42-80CB112CBD65}"/>
                </a:ext>
              </a:extLst>
            </p:cNvPr>
            <p:cNvSpPr>
              <a:spLocks noEditPoints="1"/>
            </p:cNvSpPr>
            <p:nvPr/>
          </p:nvSpPr>
          <p:spPr bwMode="auto">
            <a:xfrm>
              <a:off x="5601" y="182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262 h 512"/>
                <a:gd name="T12" fmla="*/ 393 w 512"/>
                <a:gd name="T13" fmla="*/ 294 h 512"/>
                <a:gd name="T14" fmla="*/ 385 w 512"/>
                <a:gd name="T15" fmla="*/ 299 h 512"/>
                <a:gd name="T16" fmla="*/ 376 w 512"/>
                <a:gd name="T17" fmla="*/ 296 h 512"/>
                <a:gd name="T18" fmla="*/ 362 w 512"/>
                <a:gd name="T19" fmla="*/ 282 h 512"/>
                <a:gd name="T20" fmla="*/ 349 w 512"/>
                <a:gd name="T21" fmla="*/ 296 h 512"/>
                <a:gd name="T22" fmla="*/ 333 w 512"/>
                <a:gd name="T23" fmla="*/ 296 h 512"/>
                <a:gd name="T24" fmla="*/ 320 w 512"/>
                <a:gd name="T25" fmla="*/ 282 h 512"/>
                <a:gd name="T26" fmla="*/ 306 w 512"/>
                <a:gd name="T27" fmla="*/ 296 h 512"/>
                <a:gd name="T28" fmla="*/ 298 w 512"/>
                <a:gd name="T29" fmla="*/ 299 h 512"/>
                <a:gd name="T30" fmla="*/ 255 w 512"/>
                <a:gd name="T31" fmla="*/ 299 h 512"/>
                <a:gd name="T32" fmla="*/ 181 w 512"/>
                <a:gd name="T33" fmla="*/ 342 h 512"/>
                <a:gd name="T34" fmla="*/ 96 w 512"/>
                <a:gd name="T35" fmla="*/ 256 h 512"/>
                <a:gd name="T36" fmla="*/ 181 w 512"/>
                <a:gd name="T37" fmla="*/ 171 h 512"/>
                <a:gd name="T38" fmla="*/ 255 w 512"/>
                <a:gd name="T39" fmla="*/ 214 h 512"/>
                <a:gd name="T40" fmla="*/ 384 w 512"/>
                <a:gd name="T41" fmla="*/ 214 h 512"/>
                <a:gd name="T42" fmla="*/ 393 w 512"/>
                <a:gd name="T43" fmla="*/ 218 h 512"/>
                <a:gd name="T44" fmla="*/ 414 w 512"/>
                <a:gd name="T45" fmla="*/ 250 h 512"/>
                <a:gd name="T46" fmla="*/ 414 w 512"/>
                <a:gd name="T47" fmla="*/ 2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414" y="262"/>
                  </a:moveTo>
                  <a:cubicBezTo>
                    <a:pt x="393" y="294"/>
                    <a:pt x="393" y="294"/>
                    <a:pt x="393" y="294"/>
                  </a:cubicBezTo>
                  <a:cubicBezTo>
                    <a:pt x="391" y="297"/>
                    <a:pt x="388" y="298"/>
                    <a:pt x="385" y="299"/>
                  </a:cubicBezTo>
                  <a:cubicBezTo>
                    <a:pt x="381" y="299"/>
                    <a:pt x="378" y="298"/>
                    <a:pt x="376" y="296"/>
                  </a:cubicBezTo>
                  <a:cubicBezTo>
                    <a:pt x="362" y="282"/>
                    <a:pt x="362" y="282"/>
                    <a:pt x="362" y="282"/>
                  </a:cubicBezTo>
                  <a:cubicBezTo>
                    <a:pt x="349" y="296"/>
                    <a:pt x="349" y="296"/>
                    <a:pt x="349" y="296"/>
                  </a:cubicBezTo>
                  <a:cubicBezTo>
                    <a:pt x="344" y="300"/>
                    <a:pt x="338" y="300"/>
                    <a:pt x="333" y="296"/>
                  </a:cubicBezTo>
                  <a:cubicBezTo>
                    <a:pt x="320" y="282"/>
                    <a:pt x="320" y="282"/>
                    <a:pt x="320" y="282"/>
                  </a:cubicBezTo>
                  <a:cubicBezTo>
                    <a:pt x="306" y="296"/>
                    <a:pt x="306" y="296"/>
                    <a:pt x="306" y="296"/>
                  </a:cubicBezTo>
                  <a:cubicBezTo>
                    <a:pt x="304" y="298"/>
                    <a:pt x="301" y="299"/>
                    <a:pt x="298" y="299"/>
                  </a:cubicBezTo>
                  <a:cubicBezTo>
                    <a:pt x="255" y="299"/>
                    <a:pt x="255" y="299"/>
                    <a:pt x="255" y="299"/>
                  </a:cubicBezTo>
                  <a:cubicBezTo>
                    <a:pt x="240" y="325"/>
                    <a:pt x="211" y="342"/>
                    <a:pt x="181" y="342"/>
                  </a:cubicBezTo>
                  <a:cubicBezTo>
                    <a:pt x="134" y="342"/>
                    <a:pt x="96" y="303"/>
                    <a:pt x="96" y="256"/>
                  </a:cubicBezTo>
                  <a:cubicBezTo>
                    <a:pt x="96" y="209"/>
                    <a:pt x="134" y="171"/>
                    <a:pt x="181" y="171"/>
                  </a:cubicBezTo>
                  <a:cubicBezTo>
                    <a:pt x="211" y="171"/>
                    <a:pt x="240" y="187"/>
                    <a:pt x="255" y="214"/>
                  </a:cubicBezTo>
                  <a:cubicBezTo>
                    <a:pt x="384" y="214"/>
                    <a:pt x="384" y="214"/>
                    <a:pt x="384" y="214"/>
                  </a:cubicBezTo>
                  <a:cubicBezTo>
                    <a:pt x="387" y="214"/>
                    <a:pt x="391" y="215"/>
                    <a:pt x="393" y="218"/>
                  </a:cubicBezTo>
                  <a:cubicBezTo>
                    <a:pt x="414" y="250"/>
                    <a:pt x="414" y="250"/>
                    <a:pt x="414" y="250"/>
                  </a:cubicBezTo>
                  <a:cubicBezTo>
                    <a:pt x="416" y="254"/>
                    <a:pt x="416" y="258"/>
                    <a:pt x="414" y="26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00"/>
            </a:p>
          </p:txBody>
        </p:sp>
      </p:grpSp>
      <p:sp>
        <p:nvSpPr>
          <p:cNvPr id="67" name="Freeform 580">
            <a:extLst>
              <a:ext uri="{FF2B5EF4-FFF2-40B4-BE49-F238E27FC236}">
                <a16:creationId xmlns:a16="http://schemas.microsoft.com/office/drawing/2014/main" id="{EFDDC45B-7BB6-2E98-DA84-208D06F4F38D}"/>
              </a:ext>
            </a:extLst>
          </p:cNvPr>
          <p:cNvSpPr>
            <a:spLocks noChangeAspect="1" noEditPoints="1"/>
          </p:cNvSpPr>
          <p:nvPr/>
        </p:nvSpPr>
        <p:spPr bwMode="auto">
          <a:xfrm>
            <a:off x="5320395" y="1660190"/>
            <a:ext cx="328042" cy="328042"/>
          </a:xfrm>
          <a:custGeom>
            <a:avLst/>
            <a:gdLst>
              <a:gd name="T0" fmla="*/ 176 w 512"/>
              <a:gd name="T1" fmla="*/ 170 h 512"/>
              <a:gd name="T2" fmla="*/ 352 w 512"/>
              <a:gd name="T3" fmla="*/ 170 h 512"/>
              <a:gd name="T4" fmla="*/ 352 w 512"/>
              <a:gd name="T5" fmla="*/ 394 h 512"/>
              <a:gd name="T6" fmla="*/ 176 w 512"/>
              <a:gd name="T7" fmla="*/ 394 h 512"/>
              <a:gd name="T8" fmla="*/ 160 w 512"/>
              <a:gd name="T9" fmla="*/ 378 h 512"/>
              <a:gd name="T10" fmla="*/ 160 w 512"/>
              <a:gd name="T11" fmla="*/ 167 h 512"/>
              <a:gd name="T12" fmla="*/ 176 w 512"/>
              <a:gd name="T13" fmla="*/ 170 h 512"/>
              <a:gd name="T14" fmla="*/ 176 w 512"/>
              <a:gd name="T15" fmla="*/ 149 h 512"/>
              <a:gd name="T16" fmla="*/ 323 w 512"/>
              <a:gd name="T17" fmla="*/ 149 h 512"/>
              <a:gd name="T18" fmla="*/ 320 w 512"/>
              <a:gd name="T19" fmla="*/ 133 h 512"/>
              <a:gd name="T20" fmla="*/ 323 w 512"/>
              <a:gd name="T21" fmla="*/ 117 h 512"/>
              <a:gd name="T22" fmla="*/ 176 w 512"/>
              <a:gd name="T23" fmla="*/ 117 h 512"/>
              <a:gd name="T24" fmla="*/ 160 w 512"/>
              <a:gd name="T25" fmla="*/ 133 h 512"/>
              <a:gd name="T26" fmla="*/ 176 w 512"/>
              <a:gd name="T27" fmla="*/ 149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341 w 512"/>
              <a:gd name="T39" fmla="*/ 133 h 512"/>
              <a:gd name="T40" fmla="*/ 346 w 512"/>
              <a:gd name="T41" fmla="*/ 117 h 512"/>
              <a:gd name="T42" fmla="*/ 364 w 512"/>
              <a:gd name="T43" fmla="*/ 117 h 512"/>
              <a:gd name="T44" fmla="*/ 373 w 512"/>
              <a:gd name="T45" fmla="*/ 106 h 512"/>
              <a:gd name="T46" fmla="*/ 364 w 512"/>
              <a:gd name="T47" fmla="*/ 96 h 512"/>
              <a:gd name="T48" fmla="*/ 176 w 512"/>
              <a:gd name="T49" fmla="*/ 96 h 512"/>
              <a:gd name="T50" fmla="*/ 138 w 512"/>
              <a:gd name="T51" fmla="*/ 133 h 512"/>
              <a:gd name="T52" fmla="*/ 138 w 512"/>
              <a:gd name="T53" fmla="*/ 378 h 512"/>
              <a:gd name="T54" fmla="*/ 176 w 512"/>
              <a:gd name="T55" fmla="*/ 416 h 512"/>
              <a:gd name="T56" fmla="*/ 362 w 512"/>
              <a:gd name="T57" fmla="*/ 416 h 512"/>
              <a:gd name="T58" fmla="*/ 373 w 512"/>
              <a:gd name="T59" fmla="*/ 405 h 512"/>
              <a:gd name="T60" fmla="*/ 373 w 512"/>
              <a:gd name="T61" fmla="*/ 160 h 512"/>
              <a:gd name="T62" fmla="*/ 362 w 512"/>
              <a:gd name="T63" fmla="*/ 149 h 512"/>
              <a:gd name="T64" fmla="*/ 346 w 512"/>
              <a:gd name="T65" fmla="*/ 149 h 512"/>
              <a:gd name="T66" fmla="*/ 341 w 512"/>
              <a:gd name="T67" fmla="*/ 13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76" y="170"/>
                </a:moveTo>
                <a:cubicBezTo>
                  <a:pt x="178" y="170"/>
                  <a:pt x="352" y="170"/>
                  <a:pt x="352" y="170"/>
                </a:cubicBezTo>
                <a:cubicBezTo>
                  <a:pt x="352" y="394"/>
                  <a:pt x="352" y="394"/>
                  <a:pt x="352" y="394"/>
                </a:cubicBezTo>
                <a:cubicBezTo>
                  <a:pt x="176" y="394"/>
                  <a:pt x="176" y="394"/>
                  <a:pt x="176" y="394"/>
                </a:cubicBezTo>
                <a:cubicBezTo>
                  <a:pt x="167" y="394"/>
                  <a:pt x="160" y="387"/>
                  <a:pt x="160" y="378"/>
                </a:cubicBezTo>
                <a:cubicBezTo>
                  <a:pt x="160" y="167"/>
                  <a:pt x="160" y="167"/>
                  <a:pt x="160" y="167"/>
                </a:cubicBezTo>
                <a:cubicBezTo>
                  <a:pt x="165" y="169"/>
                  <a:pt x="170" y="170"/>
                  <a:pt x="176" y="170"/>
                </a:cubicBezTo>
                <a:close/>
                <a:moveTo>
                  <a:pt x="176" y="149"/>
                </a:moveTo>
                <a:cubicBezTo>
                  <a:pt x="177" y="149"/>
                  <a:pt x="268" y="149"/>
                  <a:pt x="323" y="149"/>
                </a:cubicBezTo>
                <a:cubicBezTo>
                  <a:pt x="321" y="144"/>
                  <a:pt x="320" y="139"/>
                  <a:pt x="320" y="133"/>
                </a:cubicBezTo>
                <a:cubicBezTo>
                  <a:pt x="320" y="127"/>
                  <a:pt x="321" y="122"/>
                  <a:pt x="323" y="117"/>
                </a:cubicBezTo>
                <a:cubicBezTo>
                  <a:pt x="176" y="117"/>
                  <a:pt x="176" y="117"/>
                  <a:pt x="176" y="117"/>
                </a:cubicBezTo>
                <a:cubicBezTo>
                  <a:pt x="167" y="117"/>
                  <a:pt x="160" y="124"/>
                  <a:pt x="160" y="133"/>
                </a:cubicBezTo>
                <a:cubicBezTo>
                  <a:pt x="160" y="142"/>
                  <a:pt x="167" y="149"/>
                  <a:pt x="176" y="14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1" y="133"/>
                </a:moveTo>
                <a:cubicBezTo>
                  <a:pt x="341" y="127"/>
                  <a:pt x="343" y="122"/>
                  <a:pt x="346" y="117"/>
                </a:cubicBezTo>
                <a:cubicBezTo>
                  <a:pt x="364" y="117"/>
                  <a:pt x="364" y="117"/>
                  <a:pt x="364" y="117"/>
                </a:cubicBezTo>
                <a:cubicBezTo>
                  <a:pt x="369" y="117"/>
                  <a:pt x="373" y="112"/>
                  <a:pt x="373" y="106"/>
                </a:cubicBezTo>
                <a:cubicBezTo>
                  <a:pt x="373" y="100"/>
                  <a:pt x="369" y="96"/>
                  <a:pt x="364" y="96"/>
                </a:cubicBezTo>
                <a:cubicBezTo>
                  <a:pt x="176" y="96"/>
                  <a:pt x="176" y="96"/>
                  <a:pt x="176" y="96"/>
                </a:cubicBezTo>
                <a:cubicBezTo>
                  <a:pt x="155" y="96"/>
                  <a:pt x="138" y="112"/>
                  <a:pt x="138" y="133"/>
                </a:cubicBezTo>
                <a:cubicBezTo>
                  <a:pt x="138" y="378"/>
                  <a:pt x="138" y="378"/>
                  <a:pt x="138" y="378"/>
                </a:cubicBezTo>
                <a:cubicBezTo>
                  <a:pt x="138" y="399"/>
                  <a:pt x="155" y="416"/>
                  <a:pt x="176" y="416"/>
                </a:cubicBezTo>
                <a:cubicBezTo>
                  <a:pt x="362" y="416"/>
                  <a:pt x="362" y="416"/>
                  <a:pt x="362" y="416"/>
                </a:cubicBezTo>
                <a:cubicBezTo>
                  <a:pt x="368" y="416"/>
                  <a:pt x="373" y="411"/>
                  <a:pt x="373" y="405"/>
                </a:cubicBezTo>
                <a:cubicBezTo>
                  <a:pt x="373" y="160"/>
                  <a:pt x="373" y="160"/>
                  <a:pt x="373" y="160"/>
                </a:cubicBezTo>
                <a:cubicBezTo>
                  <a:pt x="373" y="154"/>
                  <a:pt x="368" y="149"/>
                  <a:pt x="362" y="149"/>
                </a:cubicBezTo>
                <a:cubicBezTo>
                  <a:pt x="362" y="149"/>
                  <a:pt x="356" y="149"/>
                  <a:pt x="346" y="149"/>
                </a:cubicBezTo>
                <a:cubicBezTo>
                  <a:pt x="343" y="144"/>
                  <a:pt x="341" y="139"/>
                  <a:pt x="341" y="13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300"/>
          </a:p>
        </p:txBody>
      </p:sp>
      <p:sp>
        <p:nvSpPr>
          <p:cNvPr id="68" name="Freeform 496">
            <a:extLst>
              <a:ext uri="{FF2B5EF4-FFF2-40B4-BE49-F238E27FC236}">
                <a16:creationId xmlns:a16="http://schemas.microsoft.com/office/drawing/2014/main" id="{51AD8986-18C7-49EA-B6A0-8DD944BF2BC4}"/>
              </a:ext>
            </a:extLst>
          </p:cNvPr>
          <p:cNvSpPr>
            <a:spLocks noChangeAspect="1" noEditPoints="1"/>
          </p:cNvSpPr>
          <p:nvPr/>
        </p:nvSpPr>
        <p:spPr bwMode="auto">
          <a:xfrm>
            <a:off x="7868285" y="3105149"/>
            <a:ext cx="327204" cy="328165"/>
          </a:xfrm>
          <a:custGeom>
            <a:avLst/>
            <a:gdLst>
              <a:gd name="T0" fmla="*/ 254 w 512"/>
              <a:gd name="T1" fmla="*/ 191 h 512"/>
              <a:gd name="T2" fmla="*/ 195 w 512"/>
              <a:gd name="T3" fmla="*/ 206 h 512"/>
              <a:gd name="T4" fmla="*/ 165 w 512"/>
              <a:gd name="T5" fmla="*/ 258 h 512"/>
              <a:gd name="T6" fmla="*/ 187 w 512"/>
              <a:gd name="T7" fmla="*/ 316 h 512"/>
              <a:gd name="T8" fmla="*/ 299 w 512"/>
              <a:gd name="T9" fmla="*/ 313 h 512"/>
              <a:gd name="T10" fmla="*/ 349 w 512"/>
              <a:gd name="T11" fmla="*/ 165 h 512"/>
              <a:gd name="T12" fmla="*/ 254 w 512"/>
              <a:gd name="T13" fmla="*/ 191 h 512"/>
              <a:gd name="T14" fmla="*/ 291 w 512"/>
              <a:gd name="T15" fmla="*/ 237 h 512"/>
              <a:gd name="T16" fmla="*/ 216 w 512"/>
              <a:gd name="T17" fmla="*/ 298 h 512"/>
              <a:gd name="T18" fmla="*/ 206 w 512"/>
              <a:gd name="T19" fmla="*/ 305 h 512"/>
              <a:gd name="T20" fmla="*/ 202 w 512"/>
              <a:gd name="T21" fmla="*/ 304 h 512"/>
              <a:gd name="T22" fmla="*/ 196 w 512"/>
              <a:gd name="T23" fmla="*/ 291 h 512"/>
              <a:gd name="T24" fmla="*/ 288 w 512"/>
              <a:gd name="T25" fmla="*/ 216 h 512"/>
              <a:gd name="T26" fmla="*/ 300 w 512"/>
              <a:gd name="T27" fmla="*/ 225 h 512"/>
              <a:gd name="T28" fmla="*/ 291 w 512"/>
              <a:gd name="T29" fmla="*/ 237 h 512"/>
              <a:gd name="T30" fmla="*/ 256 w 512"/>
              <a:gd name="T31" fmla="*/ 0 h 512"/>
              <a:gd name="T32" fmla="*/ 0 w 512"/>
              <a:gd name="T33" fmla="*/ 256 h 512"/>
              <a:gd name="T34" fmla="*/ 256 w 512"/>
              <a:gd name="T35" fmla="*/ 512 h 512"/>
              <a:gd name="T36" fmla="*/ 512 w 512"/>
              <a:gd name="T37" fmla="*/ 256 h 512"/>
              <a:gd name="T38" fmla="*/ 256 w 512"/>
              <a:gd name="T39" fmla="*/ 0 h 512"/>
              <a:gd name="T40" fmla="*/ 314 w 512"/>
              <a:gd name="T41" fmla="*/ 328 h 512"/>
              <a:gd name="T42" fmla="*/ 240 w 512"/>
              <a:gd name="T43" fmla="*/ 360 h 512"/>
              <a:gd name="T44" fmla="*/ 179 w 512"/>
              <a:gd name="T45" fmla="*/ 338 h 512"/>
              <a:gd name="T46" fmla="*/ 161 w 512"/>
              <a:gd name="T47" fmla="*/ 365 h 512"/>
              <a:gd name="T48" fmla="*/ 151 w 512"/>
              <a:gd name="T49" fmla="*/ 376 h 512"/>
              <a:gd name="T50" fmla="*/ 151 w 512"/>
              <a:gd name="T51" fmla="*/ 376 h 512"/>
              <a:gd name="T52" fmla="*/ 140 w 512"/>
              <a:gd name="T53" fmla="*/ 365 h 512"/>
              <a:gd name="T54" fmla="*/ 164 w 512"/>
              <a:gd name="T55" fmla="*/ 323 h 512"/>
              <a:gd name="T56" fmla="*/ 144 w 512"/>
              <a:gd name="T57" fmla="*/ 256 h 512"/>
              <a:gd name="T58" fmla="*/ 182 w 512"/>
              <a:gd name="T59" fmla="*/ 189 h 512"/>
              <a:gd name="T60" fmla="*/ 253 w 512"/>
              <a:gd name="T61" fmla="*/ 170 h 512"/>
              <a:gd name="T62" fmla="*/ 350 w 512"/>
              <a:gd name="T63" fmla="*/ 138 h 512"/>
              <a:gd name="T64" fmla="*/ 361 w 512"/>
              <a:gd name="T65" fmla="*/ 136 h 512"/>
              <a:gd name="T66" fmla="*/ 367 w 512"/>
              <a:gd name="T67" fmla="*/ 144 h 512"/>
              <a:gd name="T68" fmla="*/ 314 w 512"/>
              <a:gd name="T69" fmla="*/ 3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4" y="191"/>
                </a:moveTo>
                <a:cubicBezTo>
                  <a:pt x="231" y="192"/>
                  <a:pt x="214" y="193"/>
                  <a:pt x="195" y="206"/>
                </a:cubicBezTo>
                <a:cubicBezTo>
                  <a:pt x="178" y="218"/>
                  <a:pt x="167" y="237"/>
                  <a:pt x="165" y="258"/>
                </a:cubicBezTo>
                <a:cubicBezTo>
                  <a:pt x="164" y="280"/>
                  <a:pt x="171" y="301"/>
                  <a:pt x="187" y="316"/>
                </a:cubicBezTo>
                <a:cubicBezTo>
                  <a:pt x="218" y="348"/>
                  <a:pt x="266" y="346"/>
                  <a:pt x="299" y="313"/>
                </a:cubicBezTo>
                <a:cubicBezTo>
                  <a:pt x="330" y="283"/>
                  <a:pt x="355" y="224"/>
                  <a:pt x="349" y="165"/>
                </a:cubicBezTo>
                <a:cubicBezTo>
                  <a:pt x="311" y="189"/>
                  <a:pt x="281" y="191"/>
                  <a:pt x="254" y="191"/>
                </a:cubicBezTo>
                <a:close/>
                <a:moveTo>
                  <a:pt x="291" y="237"/>
                </a:moveTo>
                <a:cubicBezTo>
                  <a:pt x="237" y="247"/>
                  <a:pt x="216" y="298"/>
                  <a:pt x="216" y="298"/>
                </a:cubicBezTo>
                <a:cubicBezTo>
                  <a:pt x="215" y="303"/>
                  <a:pt x="211" y="305"/>
                  <a:pt x="206" y="305"/>
                </a:cubicBezTo>
                <a:cubicBezTo>
                  <a:pt x="205" y="305"/>
                  <a:pt x="204" y="305"/>
                  <a:pt x="202" y="304"/>
                </a:cubicBezTo>
                <a:cubicBezTo>
                  <a:pt x="197" y="302"/>
                  <a:pt x="194" y="296"/>
                  <a:pt x="196" y="291"/>
                </a:cubicBezTo>
                <a:cubicBezTo>
                  <a:pt x="197" y="288"/>
                  <a:pt x="221" y="228"/>
                  <a:pt x="288" y="216"/>
                </a:cubicBezTo>
                <a:cubicBezTo>
                  <a:pt x="294" y="215"/>
                  <a:pt x="299" y="219"/>
                  <a:pt x="300" y="225"/>
                </a:cubicBezTo>
                <a:cubicBezTo>
                  <a:pt x="301" y="230"/>
                  <a:pt x="297" y="236"/>
                  <a:pt x="291" y="237"/>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14" y="328"/>
                </a:moveTo>
                <a:cubicBezTo>
                  <a:pt x="293" y="349"/>
                  <a:pt x="267" y="360"/>
                  <a:pt x="240" y="360"/>
                </a:cubicBezTo>
                <a:cubicBezTo>
                  <a:pt x="218" y="360"/>
                  <a:pt x="197" y="353"/>
                  <a:pt x="179" y="338"/>
                </a:cubicBezTo>
                <a:cubicBezTo>
                  <a:pt x="162" y="353"/>
                  <a:pt x="162" y="365"/>
                  <a:pt x="161" y="365"/>
                </a:cubicBezTo>
                <a:cubicBezTo>
                  <a:pt x="161" y="371"/>
                  <a:pt x="157" y="376"/>
                  <a:pt x="151" y="376"/>
                </a:cubicBezTo>
                <a:cubicBezTo>
                  <a:pt x="151" y="376"/>
                  <a:pt x="151" y="376"/>
                  <a:pt x="151" y="376"/>
                </a:cubicBezTo>
                <a:cubicBezTo>
                  <a:pt x="145" y="376"/>
                  <a:pt x="140" y="371"/>
                  <a:pt x="140" y="365"/>
                </a:cubicBezTo>
                <a:cubicBezTo>
                  <a:pt x="140" y="363"/>
                  <a:pt x="141" y="344"/>
                  <a:pt x="164" y="323"/>
                </a:cubicBezTo>
                <a:cubicBezTo>
                  <a:pt x="149" y="304"/>
                  <a:pt x="142" y="280"/>
                  <a:pt x="144" y="256"/>
                </a:cubicBezTo>
                <a:cubicBezTo>
                  <a:pt x="146" y="229"/>
                  <a:pt x="160" y="204"/>
                  <a:pt x="182" y="189"/>
                </a:cubicBezTo>
                <a:cubicBezTo>
                  <a:pt x="207" y="172"/>
                  <a:pt x="230" y="171"/>
                  <a:pt x="253" y="170"/>
                </a:cubicBezTo>
                <a:cubicBezTo>
                  <a:pt x="281" y="169"/>
                  <a:pt x="311" y="168"/>
                  <a:pt x="350" y="138"/>
                </a:cubicBezTo>
                <a:cubicBezTo>
                  <a:pt x="353" y="135"/>
                  <a:pt x="357" y="135"/>
                  <a:pt x="361" y="136"/>
                </a:cubicBezTo>
                <a:cubicBezTo>
                  <a:pt x="364" y="137"/>
                  <a:pt x="366" y="140"/>
                  <a:pt x="367" y="144"/>
                </a:cubicBezTo>
                <a:cubicBezTo>
                  <a:pt x="382" y="215"/>
                  <a:pt x="352" y="291"/>
                  <a:pt x="314" y="32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300"/>
          </a:p>
        </p:txBody>
      </p:sp>
      <p:sp>
        <p:nvSpPr>
          <p:cNvPr id="69" name="Freeform 556">
            <a:extLst>
              <a:ext uri="{FF2B5EF4-FFF2-40B4-BE49-F238E27FC236}">
                <a16:creationId xmlns:a16="http://schemas.microsoft.com/office/drawing/2014/main" id="{97945E4B-4287-F23F-ADDC-F9C5CBE5A76E}"/>
              </a:ext>
            </a:extLst>
          </p:cNvPr>
          <p:cNvSpPr>
            <a:spLocks noChangeAspect="1" noEditPoints="1"/>
          </p:cNvSpPr>
          <p:nvPr/>
        </p:nvSpPr>
        <p:spPr bwMode="auto">
          <a:xfrm>
            <a:off x="6397039" y="5803399"/>
            <a:ext cx="327204" cy="328165"/>
          </a:xfrm>
          <a:custGeom>
            <a:avLst/>
            <a:gdLst>
              <a:gd name="T0" fmla="*/ 298 w 512"/>
              <a:gd name="T1" fmla="*/ 213 h 512"/>
              <a:gd name="T2" fmla="*/ 349 w 512"/>
              <a:gd name="T3" fmla="*/ 213 h 512"/>
              <a:gd name="T4" fmla="*/ 215 w 512"/>
              <a:gd name="T5" fmla="*/ 363 h 512"/>
              <a:gd name="T6" fmla="*/ 245 w 512"/>
              <a:gd name="T7" fmla="*/ 259 h 512"/>
              <a:gd name="T8" fmla="*/ 243 w 512"/>
              <a:gd name="T9" fmla="*/ 249 h 512"/>
              <a:gd name="T10" fmla="*/ 234 w 512"/>
              <a:gd name="T11" fmla="*/ 245 h 512"/>
              <a:gd name="T12" fmla="*/ 187 w 512"/>
              <a:gd name="T13" fmla="*/ 245 h 512"/>
              <a:gd name="T14" fmla="*/ 241 w 512"/>
              <a:gd name="T15" fmla="*/ 117 h 512"/>
              <a:gd name="T16" fmla="*/ 325 w 512"/>
              <a:gd name="T17" fmla="*/ 117 h 512"/>
              <a:gd name="T18" fmla="*/ 289 w 512"/>
              <a:gd name="T19" fmla="*/ 198 h 512"/>
              <a:gd name="T20" fmla="*/ 289 w 512"/>
              <a:gd name="T21" fmla="*/ 208 h 512"/>
              <a:gd name="T22" fmla="*/ 298 w 512"/>
              <a:gd name="T23" fmla="*/ 213 h 512"/>
              <a:gd name="T24" fmla="*/ 512 w 512"/>
              <a:gd name="T25" fmla="*/ 256 h 512"/>
              <a:gd name="T26" fmla="*/ 256 w 512"/>
              <a:gd name="T27" fmla="*/ 512 h 512"/>
              <a:gd name="T28" fmla="*/ 0 w 512"/>
              <a:gd name="T29" fmla="*/ 256 h 512"/>
              <a:gd name="T30" fmla="*/ 256 w 512"/>
              <a:gd name="T31" fmla="*/ 0 h 512"/>
              <a:gd name="T32" fmla="*/ 512 w 512"/>
              <a:gd name="T33" fmla="*/ 256 h 512"/>
              <a:gd name="T34" fmla="*/ 383 w 512"/>
              <a:gd name="T35" fmla="*/ 198 h 512"/>
              <a:gd name="T36" fmla="*/ 373 w 512"/>
              <a:gd name="T37" fmla="*/ 192 h 512"/>
              <a:gd name="T38" fmla="*/ 315 w 512"/>
              <a:gd name="T39" fmla="*/ 192 h 512"/>
              <a:gd name="T40" fmla="*/ 351 w 512"/>
              <a:gd name="T41" fmla="*/ 111 h 512"/>
              <a:gd name="T42" fmla="*/ 350 w 512"/>
              <a:gd name="T43" fmla="*/ 101 h 512"/>
              <a:gd name="T44" fmla="*/ 341 w 512"/>
              <a:gd name="T45" fmla="*/ 96 h 512"/>
              <a:gd name="T46" fmla="*/ 234 w 512"/>
              <a:gd name="T47" fmla="*/ 96 h 512"/>
              <a:gd name="T48" fmla="*/ 225 w 512"/>
              <a:gd name="T49" fmla="*/ 102 h 512"/>
              <a:gd name="T50" fmla="*/ 161 w 512"/>
              <a:gd name="T51" fmla="*/ 251 h 512"/>
              <a:gd name="T52" fmla="*/ 161 w 512"/>
              <a:gd name="T53" fmla="*/ 262 h 512"/>
              <a:gd name="T54" fmla="*/ 170 w 512"/>
              <a:gd name="T55" fmla="*/ 266 h 512"/>
              <a:gd name="T56" fmla="*/ 220 w 512"/>
              <a:gd name="T57" fmla="*/ 266 h 512"/>
              <a:gd name="T58" fmla="*/ 181 w 512"/>
              <a:gd name="T59" fmla="*/ 402 h 512"/>
              <a:gd name="T60" fmla="*/ 187 w 512"/>
              <a:gd name="T61" fmla="*/ 414 h 512"/>
              <a:gd name="T62" fmla="*/ 192 w 512"/>
              <a:gd name="T63" fmla="*/ 416 h 512"/>
              <a:gd name="T64" fmla="*/ 200 w 512"/>
              <a:gd name="T65" fmla="*/ 412 h 512"/>
              <a:gd name="T66" fmla="*/ 381 w 512"/>
              <a:gd name="T67" fmla="*/ 209 h 512"/>
              <a:gd name="T68" fmla="*/ 383 w 512"/>
              <a:gd name="T69" fmla="*/ 1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98" y="213"/>
                </a:moveTo>
                <a:cubicBezTo>
                  <a:pt x="349" y="213"/>
                  <a:pt x="349" y="213"/>
                  <a:pt x="349" y="213"/>
                </a:cubicBezTo>
                <a:cubicBezTo>
                  <a:pt x="215" y="363"/>
                  <a:pt x="215" y="363"/>
                  <a:pt x="215" y="363"/>
                </a:cubicBezTo>
                <a:cubicBezTo>
                  <a:pt x="245" y="259"/>
                  <a:pt x="245" y="259"/>
                  <a:pt x="245" y="259"/>
                </a:cubicBezTo>
                <a:cubicBezTo>
                  <a:pt x="246" y="255"/>
                  <a:pt x="245" y="252"/>
                  <a:pt x="243" y="249"/>
                </a:cubicBezTo>
                <a:cubicBezTo>
                  <a:pt x="241" y="247"/>
                  <a:pt x="238" y="245"/>
                  <a:pt x="234" y="245"/>
                </a:cubicBezTo>
                <a:cubicBezTo>
                  <a:pt x="187" y="245"/>
                  <a:pt x="187" y="245"/>
                  <a:pt x="187" y="245"/>
                </a:cubicBezTo>
                <a:cubicBezTo>
                  <a:pt x="241" y="117"/>
                  <a:pt x="241" y="117"/>
                  <a:pt x="241" y="117"/>
                </a:cubicBezTo>
                <a:cubicBezTo>
                  <a:pt x="325" y="117"/>
                  <a:pt x="325" y="117"/>
                  <a:pt x="325" y="117"/>
                </a:cubicBezTo>
                <a:cubicBezTo>
                  <a:pt x="289" y="198"/>
                  <a:pt x="289" y="198"/>
                  <a:pt x="289" y="198"/>
                </a:cubicBezTo>
                <a:cubicBezTo>
                  <a:pt x="287" y="201"/>
                  <a:pt x="287" y="205"/>
                  <a:pt x="289" y="208"/>
                </a:cubicBezTo>
                <a:cubicBezTo>
                  <a:pt x="291" y="211"/>
                  <a:pt x="295" y="213"/>
                  <a:pt x="298"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3" y="198"/>
                </a:moveTo>
                <a:cubicBezTo>
                  <a:pt x="381" y="194"/>
                  <a:pt x="377" y="192"/>
                  <a:pt x="373" y="192"/>
                </a:cubicBezTo>
                <a:cubicBezTo>
                  <a:pt x="315" y="192"/>
                  <a:pt x="315" y="192"/>
                  <a:pt x="315" y="192"/>
                </a:cubicBezTo>
                <a:cubicBezTo>
                  <a:pt x="351" y="111"/>
                  <a:pt x="351" y="111"/>
                  <a:pt x="351" y="111"/>
                </a:cubicBezTo>
                <a:cubicBezTo>
                  <a:pt x="352" y="107"/>
                  <a:pt x="352" y="104"/>
                  <a:pt x="350" y="101"/>
                </a:cubicBezTo>
                <a:cubicBezTo>
                  <a:pt x="348" y="97"/>
                  <a:pt x="345" y="96"/>
                  <a:pt x="341" y="96"/>
                </a:cubicBezTo>
                <a:cubicBezTo>
                  <a:pt x="234" y="96"/>
                  <a:pt x="234" y="96"/>
                  <a:pt x="234" y="96"/>
                </a:cubicBezTo>
                <a:cubicBezTo>
                  <a:pt x="230" y="96"/>
                  <a:pt x="226" y="98"/>
                  <a:pt x="225" y="102"/>
                </a:cubicBezTo>
                <a:cubicBezTo>
                  <a:pt x="161" y="251"/>
                  <a:pt x="161" y="251"/>
                  <a:pt x="161" y="251"/>
                </a:cubicBezTo>
                <a:cubicBezTo>
                  <a:pt x="159" y="255"/>
                  <a:pt x="159" y="259"/>
                  <a:pt x="161" y="262"/>
                </a:cubicBezTo>
                <a:cubicBezTo>
                  <a:pt x="163" y="265"/>
                  <a:pt x="167" y="266"/>
                  <a:pt x="170" y="266"/>
                </a:cubicBezTo>
                <a:cubicBezTo>
                  <a:pt x="220" y="266"/>
                  <a:pt x="220" y="266"/>
                  <a:pt x="220" y="266"/>
                </a:cubicBezTo>
                <a:cubicBezTo>
                  <a:pt x="181" y="402"/>
                  <a:pt x="181" y="402"/>
                  <a:pt x="181" y="402"/>
                </a:cubicBezTo>
                <a:cubicBezTo>
                  <a:pt x="180" y="407"/>
                  <a:pt x="182" y="412"/>
                  <a:pt x="187" y="414"/>
                </a:cubicBezTo>
                <a:cubicBezTo>
                  <a:pt x="188" y="415"/>
                  <a:pt x="190" y="416"/>
                  <a:pt x="192" y="416"/>
                </a:cubicBezTo>
                <a:cubicBezTo>
                  <a:pt x="195" y="416"/>
                  <a:pt x="198" y="414"/>
                  <a:pt x="200" y="412"/>
                </a:cubicBezTo>
                <a:cubicBezTo>
                  <a:pt x="381" y="209"/>
                  <a:pt x="381" y="209"/>
                  <a:pt x="381" y="209"/>
                </a:cubicBezTo>
                <a:cubicBezTo>
                  <a:pt x="384" y="206"/>
                  <a:pt x="384" y="202"/>
                  <a:pt x="383" y="19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300"/>
          </a:p>
        </p:txBody>
      </p:sp>
      <p:graphicFrame>
        <p:nvGraphicFramePr>
          <p:cNvPr id="3" name="Table 15">
            <a:extLst>
              <a:ext uri="{FF2B5EF4-FFF2-40B4-BE49-F238E27FC236}">
                <a16:creationId xmlns:a16="http://schemas.microsoft.com/office/drawing/2014/main" id="{391D065F-455F-0206-3461-D78C4914B2EC}"/>
              </a:ext>
            </a:extLst>
          </p:cNvPr>
          <p:cNvGraphicFramePr>
            <a:graphicFrameLocks noGrp="1"/>
          </p:cNvGraphicFramePr>
          <p:nvPr>
            <p:extLst>
              <p:ext uri="{D42A27DB-BD31-4B8C-83A1-F6EECF244321}">
                <p14:modId xmlns:p14="http://schemas.microsoft.com/office/powerpoint/2010/main" val="3395508122"/>
              </p:ext>
            </p:extLst>
          </p:nvPr>
        </p:nvGraphicFramePr>
        <p:xfrm>
          <a:off x="387320" y="480293"/>
          <a:ext cx="11292695" cy="396240"/>
        </p:xfrm>
        <a:graphic>
          <a:graphicData uri="http://schemas.openxmlformats.org/drawingml/2006/table">
            <a:tbl>
              <a:tblPr firstRow="1" bandRow="1">
                <a:tableStyleId>{5C22544A-7EE6-4342-B048-85BDC9FD1C3A}</a:tableStyleId>
              </a:tblPr>
              <a:tblGrid>
                <a:gridCol w="11292695">
                  <a:extLst>
                    <a:ext uri="{9D8B030D-6E8A-4147-A177-3AD203B41FA5}">
                      <a16:colId xmlns:a16="http://schemas.microsoft.com/office/drawing/2014/main" val="1216123402"/>
                    </a:ext>
                  </a:extLst>
                </a:gridCol>
              </a:tblGrid>
              <a:tr h="370840">
                <a:tc>
                  <a:txBody>
                    <a:bodyPr/>
                    <a:lstStyle/>
                    <a:p>
                      <a:r>
                        <a:rPr lang="en-AU" sz="2000" b="1" kern="1200" dirty="0">
                          <a:solidFill>
                            <a:schemeClr val="bg1">
                              <a:lumMod val="50000"/>
                            </a:schemeClr>
                          </a:solidFill>
                          <a:effectLst/>
                          <a:latin typeface="Open Sans" panose="020B0606030504020204" pitchFamily="34" charset="0"/>
                          <a:ea typeface="Open Sans" panose="020B0606030504020204" pitchFamily="34" charset="0"/>
                          <a:cs typeface="Open Sans" panose="020B0606030504020204" pitchFamily="34" charset="0"/>
                        </a:rPr>
                        <a:t>Business imperatives for the year ahead</a:t>
                      </a:r>
                    </a:p>
                  </a:txBody>
                  <a:tcPr>
                    <a:lnB w="28575"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val="237313093"/>
                  </a:ext>
                </a:extLst>
              </a:tr>
            </a:tbl>
          </a:graphicData>
        </a:graphic>
      </p:graphicFrame>
      <p:sp>
        <p:nvSpPr>
          <p:cNvPr id="6" name="Title 1">
            <a:extLst>
              <a:ext uri="{FF2B5EF4-FFF2-40B4-BE49-F238E27FC236}">
                <a16:creationId xmlns:a16="http://schemas.microsoft.com/office/drawing/2014/main" id="{A0674293-CC73-6999-2821-BAFADD588639}"/>
              </a:ext>
            </a:extLst>
          </p:cNvPr>
          <p:cNvSpPr txBox="1">
            <a:spLocks/>
          </p:cNvSpPr>
          <p:nvPr/>
        </p:nvSpPr>
        <p:spPr bwMode="gray">
          <a:xfrm>
            <a:off x="424972" y="157151"/>
            <a:ext cx="11339211" cy="349686"/>
          </a:xfrm>
          <a:prstGeom prst="rect">
            <a:avLst/>
          </a:prstGeom>
        </p:spPr>
        <p:txBody>
          <a:bodyPr vert="horz" lIns="0" tIns="0" rIns="0" bIns="0" rtlCol="0" anchor="t" anchorCtr="0">
            <a:normAutofit fontScale="97500"/>
          </a:bodyPr>
          <a:lstStyle>
            <a:lvl1pPr algn="l" defTabSz="895328" rtl="0" eaLnBrk="1" latinLnBrk="0" hangingPunct="1">
              <a:spcBef>
                <a:spcPct val="0"/>
              </a:spcBef>
              <a:buNone/>
              <a:defRPr sz="1808" kern="1200">
                <a:solidFill>
                  <a:schemeClr val="tx1"/>
                </a:solidFill>
                <a:latin typeface="+mj-lt"/>
                <a:ea typeface="+mj-ea"/>
                <a:cs typeface="+mj-cs"/>
              </a:defRPr>
            </a:lvl1pPr>
          </a:lstStyle>
          <a:p>
            <a:pPr>
              <a:lnSpc>
                <a:spcPct val="120000"/>
              </a:lnSpc>
            </a:pPr>
            <a:r>
              <a:rPr lang="en-AU" sz="1100" b="1" spc="600" dirty="0">
                <a:solidFill>
                  <a:schemeClr val="bg1">
                    <a:lumMod val="85000"/>
                  </a:schemeClr>
                </a:solidFill>
              </a:rPr>
              <a:t>RETAIL BUSINESS PERFORMANCE</a:t>
            </a:r>
            <a:endParaRPr lang="en-US" sz="700" b="1" spc="600" dirty="0">
              <a:solidFill>
                <a:schemeClr val="bg1">
                  <a:lumMod val="85000"/>
                </a:schemeClr>
              </a:solidFill>
            </a:endParaRPr>
          </a:p>
        </p:txBody>
      </p:sp>
    </p:spTree>
    <p:extLst>
      <p:ext uri="{BB962C8B-B14F-4D97-AF65-F5344CB8AC3E}">
        <p14:creationId xmlns:p14="http://schemas.microsoft.com/office/powerpoint/2010/main" val="85757536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HighRisk" hidden="1">
            <a:extLst>
              <a:ext uri="{FF2B5EF4-FFF2-40B4-BE49-F238E27FC236}">
                <a16:creationId xmlns:a16="http://schemas.microsoft.com/office/drawing/2014/main" id="{037F0A27-893F-4C47-B775-B8BE74D15A9A}"/>
              </a:ext>
            </a:extLst>
          </p:cNvPr>
          <p:cNvSpPr txBox="1"/>
          <p:nvPr/>
        </p:nvSpPr>
        <p:spPr>
          <a:xfrm>
            <a:off x="4280845" y="6469570"/>
            <a:ext cx="3630314" cy="181915"/>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541"/>
              </a:spcBef>
              <a:buSzPct val="100000"/>
            </a:pPr>
            <a:r>
              <a:rPr lang="en-AU" sz="722"/>
              <a:t>HIGH RISK CONFIDENTIAL</a:t>
            </a:r>
          </a:p>
        </p:txBody>
      </p:sp>
      <p:sp>
        <p:nvSpPr>
          <p:cNvPr id="10" name="Confidential">
            <a:extLst>
              <a:ext uri="{FF2B5EF4-FFF2-40B4-BE49-F238E27FC236}">
                <a16:creationId xmlns:a16="http://schemas.microsoft.com/office/drawing/2014/main" id="{09874396-1943-4A14-AC87-985DF0F6380F}"/>
              </a:ext>
            </a:extLst>
          </p:cNvPr>
          <p:cNvSpPr txBox="1"/>
          <p:nvPr/>
        </p:nvSpPr>
        <p:spPr>
          <a:xfrm>
            <a:off x="4280845" y="6469755"/>
            <a:ext cx="3630314" cy="181915"/>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541"/>
              </a:spcBef>
              <a:buSzPct val="100000"/>
            </a:pPr>
            <a:r>
              <a:rPr lang="en-AU" sz="722"/>
              <a:t>CONFIDENTIAL</a:t>
            </a:r>
          </a:p>
        </p:txBody>
      </p:sp>
      <p:sp>
        <p:nvSpPr>
          <p:cNvPr id="11" name="Public" hidden="1">
            <a:extLst>
              <a:ext uri="{FF2B5EF4-FFF2-40B4-BE49-F238E27FC236}">
                <a16:creationId xmlns:a16="http://schemas.microsoft.com/office/drawing/2014/main" id="{0099B701-1ACA-45B2-95F3-A2A4BB5CE281}"/>
              </a:ext>
            </a:extLst>
          </p:cNvPr>
          <p:cNvSpPr txBox="1"/>
          <p:nvPr/>
        </p:nvSpPr>
        <p:spPr>
          <a:xfrm>
            <a:off x="4280845" y="6469755"/>
            <a:ext cx="3630314" cy="181915"/>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ts val="541"/>
              </a:spcBef>
              <a:buSzPct val="100000"/>
            </a:pPr>
            <a:r>
              <a:rPr lang="en-AU" sz="722"/>
              <a:t>PUBLIC</a:t>
            </a:r>
          </a:p>
        </p:txBody>
      </p:sp>
    </p:spTree>
    <p:custDataLst>
      <p:tags r:id="rId1"/>
    </p:custDataLst>
    <p:extLst>
      <p:ext uri="{BB962C8B-B14F-4D97-AF65-F5344CB8AC3E}">
        <p14:creationId xmlns:p14="http://schemas.microsoft.com/office/powerpoint/2010/main" val="310998949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skyscrapers">
            <a:extLst>
              <a:ext uri="{FF2B5EF4-FFF2-40B4-BE49-F238E27FC236}">
                <a16:creationId xmlns:a16="http://schemas.microsoft.com/office/drawing/2014/main" id="{29305ED8-D39E-4A20-A7CB-7EC58B3E325D}"/>
              </a:ext>
            </a:extLst>
          </p:cNvPr>
          <p:cNvPicPr>
            <a:picLocks noGrp="1" noChangeAspect="1"/>
          </p:cNvPicPr>
          <p:nvPr>
            <p:ph type="pic" sz="quarter" idx="4294967295"/>
          </p:nvPr>
        </p:nvPicPr>
        <p:blipFill>
          <a:blip r:embed="rId3" cstate="print">
            <a:extLst>
              <a:ext uri="{28A0092B-C50C-407E-A947-70E740481C1C}">
                <a14:useLocalDpi xmlns:a14="http://schemas.microsoft.com/office/drawing/2010/main"/>
              </a:ext>
            </a:extLst>
          </a:blip>
          <a:srcRect/>
          <a:stretch>
            <a:fillRect/>
          </a:stretch>
        </p:blipFill>
        <p:spPr>
          <a:xfrm>
            <a:off x="6773308" y="1473556"/>
            <a:ext cx="4884848" cy="4884848"/>
          </a:xfrm>
          <a:prstGeom prst="ellipse">
            <a:avLst/>
          </a:prstGeom>
          <a:blipFill>
            <a:blip r:embed="rId4"/>
            <a:stretch>
              <a:fillRect/>
            </a:stretch>
          </a:blipFill>
        </p:spPr>
      </p:pic>
      <p:sp>
        <p:nvSpPr>
          <p:cNvPr id="10" name="Title 1">
            <a:extLst>
              <a:ext uri="{FF2B5EF4-FFF2-40B4-BE49-F238E27FC236}">
                <a16:creationId xmlns:a16="http://schemas.microsoft.com/office/drawing/2014/main" id="{8CDE5B1A-F56D-7C26-3C44-9ED00B968590}"/>
              </a:ext>
            </a:extLst>
          </p:cNvPr>
          <p:cNvSpPr txBox="1">
            <a:spLocks/>
          </p:cNvSpPr>
          <p:nvPr/>
        </p:nvSpPr>
        <p:spPr bwMode="gray">
          <a:xfrm>
            <a:off x="424972" y="157151"/>
            <a:ext cx="11339211" cy="349686"/>
          </a:xfrm>
          <a:prstGeom prst="rect">
            <a:avLst/>
          </a:prstGeom>
        </p:spPr>
        <p:txBody>
          <a:bodyPr vert="horz" lIns="0" tIns="0" rIns="0" bIns="0" rtlCol="0" anchor="t" anchorCtr="0">
            <a:normAutofit fontScale="97500"/>
          </a:bodyPr>
          <a:lstStyle>
            <a:lvl1pPr algn="l" defTabSz="895328" rtl="0" eaLnBrk="1" latinLnBrk="0" hangingPunct="1">
              <a:spcBef>
                <a:spcPct val="0"/>
              </a:spcBef>
              <a:buNone/>
              <a:defRPr sz="1808" kern="1200">
                <a:solidFill>
                  <a:schemeClr val="tx1"/>
                </a:solidFill>
                <a:latin typeface="+mj-lt"/>
                <a:ea typeface="+mj-ea"/>
                <a:cs typeface="+mj-cs"/>
              </a:defRPr>
            </a:lvl1pPr>
          </a:lstStyle>
          <a:p>
            <a:pPr>
              <a:lnSpc>
                <a:spcPct val="120000"/>
              </a:lnSpc>
            </a:pPr>
            <a:r>
              <a:rPr lang="en-AU" sz="1100" b="1" spc="600">
                <a:solidFill>
                  <a:schemeClr val="bg1">
                    <a:lumMod val="85000"/>
                  </a:schemeClr>
                </a:solidFill>
              </a:rPr>
              <a:t>AUSTRALIA’S ECONOMIC OUTLOOK</a:t>
            </a:r>
            <a:endParaRPr lang="en-US" sz="700" b="1" spc="600">
              <a:solidFill>
                <a:schemeClr val="bg1">
                  <a:lumMod val="85000"/>
                </a:schemeClr>
              </a:solidFill>
            </a:endParaRPr>
          </a:p>
        </p:txBody>
      </p:sp>
      <p:sp>
        <p:nvSpPr>
          <p:cNvPr id="2" name="Content Placeholder 4">
            <a:extLst>
              <a:ext uri="{FF2B5EF4-FFF2-40B4-BE49-F238E27FC236}">
                <a16:creationId xmlns:a16="http://schemas.microsoft.com/office/drawing/2014/main" id="{AC8260F7-537B-7449-93BD-D5936E75C604}"/>
              </a:ext>
            </a:extLst>
          </p:cNvPr>
          <p:cNvSpPr txBox="1">
            <a:spLocks/>
          </p:cNvSpPr>
          <p:nvPr/>
        </p:nvSpPr>
        <p:spPr>
          <a:xfrm>
            <a:off x="346996" y="998399"/>
            <a:ext cx="5944474" cy="5267224"/>
          </a:xfrm>
          <a:prstGeom prst="rect">
            <a:avLst/>
          </a:prstGeom>
        </p:spPr>
        <p:txBody>
          <a:bodyPr vert="horz" lIns="0" tIns="0" rIns="0" bIns="0" numCol="1" spcCol="360000" rtlCol="0">
            <a:noAutofit/>
          </a:bodyPr>
          <a:lstStyle>
            <a:lvl1pPr marL="0" indent="0" algn="l" defTabSz="895328" rtl="0" eaLnBrk="1" latinLnBrk="0" hangingPunct="1">
              <a:spcBef>
                <a:spcPts val="0"/>
              </a:spcBef>
              <a:spcAft>
                <a:spcPts val="978"/>
              </a:spcAft>
              <a:buSzPct val="100000"/>
              <a:buFont typeface="Arial" panose="020B0604020202020204" pitchFamily="34" charset="0"/>
              <a:buChar char="​"/>
              <a:defRPr sz="905" b="0" kern="1200">
                <a:solidFill>
                  <a:schemeClr val="tx1"/>
                </a:solidFill>
                <a:latin typeface="+mn-lt"/>
                <a:ea typeface="+mn-ea"/>
                <a:cs typeface="+mn-cs"/>
              </a:defRPr>
            </a:lvl1pPr>
            <a:lvl2pPr marL="0" indent="0" algn="l" defTabSz="895328" rtl="0" eaLnBrk="1" latinLnBrk="0" hangingPunct="1">
              <a:spcBef>
                <a:spcPts val="0"/>
              </a:spcBef>
              <a:spcAft>
                <a:spcPts val="978"/>
              </a:spcAft>
              <a:buClrTx/>
              <a:buSzPct val="100000"/>
              <a:buFont typeface="Arial" panose="020B0604020202020204" pitchFamily="34" charset="0"/>
              <a:buChar char="​"/>
              <a:defRPr lang="en-US" sz="905" b="1" kern="1200" dirty="0">
                <a:solidFill>
                  <a:schemeClr val="tx1"/>
                </a:solidFill>
                <a:latin typeface="+mn-lt"/>
                <a:ea typeface="+mn-ea"/>
                <a:cs typeface="+mn-cs"/>
              </a:defRPr>
            </a:lvl2pPr>
            <a:lvl3pPr marL="172720" indent="-172720" algn="l" defTabSz="895328" rtl="0" eaLnBrk="1" latinLnBrk="0" hangingPunct="1">
              <a:spcBef>
                <a:spcPts val="0"/>
              </a:spcBef>
              <a:spcAft>
                <a:spcPts val="978"/>
              </a:spcAft>
              <a:buClrTx/>
              <a:buSzPct val="100000"/>
              <a:buFont typeface="Arial" panose="020B0604020202020204" pitchFamily="34" charset="0"/>
              <a:buChar char="•"/>
              <a:defRPr lang="en-US" sz="905" kern="1200" dirty="0">
                <a:solidFill>
                  <a:schemeClr val="tx1"/>
                </a:solidFill>
                <a:latin typeface="+mn-lt"/>
                <a:ea typeface="+mn-ea"/>
                <a:cs typeface="+mn-cs"/>
              </a:defRPr>
            </a:lvl3pPr>
            <a:lvl4pPr marL="348965" indent="-172720" algn="l" defTabSz="895328" rtl="0" eaLnBrk="1" latinLnBrk="0" hangingPunct="1">
              <a:spcBef>
                <a:spcPts val="0"/>
              </a:spcBef>
              <a:spcAft>
                <a:spcPts val="978"/>
              </a:spcAft>
              <a:buClrTx/>
              <a:buSzPct val="100000"/>
              <a:buFont typeface="Verdana" panose="020B0604030504040204" pitchFamily="34" charset="0"/>
              <a:buChar char="−"/>
              <a:defRPr lang="en-US" sz="905" kern="1200" baseline="0" dirty="0">
                <a:solidFill>
                  <a:schemeClr val="tx1"/>
                </a:solidFill>
                <a:latin typeface="+mn-lt"/>
                <a:ea typeface="+mn-ea"/>
                <a:cs typeface="+mn-cs"/>
              </a:defRPr>
            </a:lvl4pPr>
            <a:lvl5pPr marL="521686" indent="-172720" algn="l" defTabSz="781858" rtl="0" eaLnBrk="1" latinLnBrk="0" hangingPunct="1">
              <a:spcBef>
                <a:spcPts val="0"/>
              </a:spcBef>
              <a:spcAft>
                <a:spcPts val="978"/>
              </a:spcAft>
              <a:buClrTx/>
              <a:buSzPct val="100000"/>
              <a:buFont typeface="Verdana" panose="020B0604030504040204" pitchFamily="34" charset="0"/>
              <a:buChar char="−"/>
              <a:tabLst/>
              <a:defRPr lang="en-US" sz="905" kern="1200" baseline="0" dirty="0">
                <a:solidFill>
                  <a:schemeClr val="tx1"/>
                </a:solidFill>
                <a:latin typeface="+mn-lt"/>
                <a:ea typeface="+mn-ea"/>
                <a:cs typeface="+mn-cs"/>
              </a:defRPr>
            </a:lvl5pPr>
            <a:lvl6pPr marL="521686" indent="-172720" algn="l" defTabSz="895328" rtl="0" eaLnBrk="1" latinLnBrk="0" hangingPunct="1">
              <a:spcBef>
                <a:spcPts val="0"/>
              </a:spcBef>
              <a:spcAft>
                <a:spcPts val="978"/>
              </a:spcAft>
              <a:buFont typeface="Verdana" panose="020B0604030504040204" pitchFamily="34" charset="0"/>
              <a:buChar char="−"/>
              <a:defRPr sz="905" kern="1200" baseline="0">
                <a:solidFill>
                  <a:schemeClr val="tx1"/>
                </a:solidFill>
                <a:latin typeface="+mn-lt"/>
                <a:ea typeface="+mn-ea"/>
                <a:cs typeface="+mn-cs"/>
              </a:defRPr>
            </a:lvl6pPr>
            <a:lvl7pPr marL="521686" indent="-172720" algn="l" defTabSz="895328" rtl="0" eaLnBrk="1" latinLnBrk="0" hangingPunct="1">
              <a:spcBef>
                <a:spcPts val="0"/>
              </a:spcBef>
              <a:spcAft>
                <a:spcPts val="978"/>
              </a:spcAft>
              <a:buFont typeface="Verdana" panose="020B0604030504040204" pitchFamily="34" charset="0"/>
              <a:buChar char="−"/>
              <a:defRPr sz="905" kern="1200">
                <a:solidFill>
                  <a:schemeClr val="tx1"/>
                </a:solidFill>
                <a:latin typeface="+mn-lt"/>
                <a:ea typeface="+mn-ea"/>
                <a:cs typeface="+mn-cs"/>
              </a:defRPr>
            </a:lvl7pPr>
            <a:lvl8pPr marL="521686" indent="-172720" algn="l" defTabSz="895328" rtl="0" eaLnBrk="1" latinLnBrk="0" hangingPunct="1">
              <a:spcBef>
                <a:spcPts val="0"/>
              </a:spcBef>
              <a:spcAft>
                <a:spcPts val="978"/>
              </a:spcAft>
              <a:buFont typeface="Verdana" panose="020B0604030504040204" pitchFamily="34" charset="0"/>
              <a:buChar char="−"/>
              <a:defRPr sz="905" kern="1200" baseline="0">
                <a:solidFill>
                  <a:schemeClr val="tx1"/>
                </a:solidFill>
                <a:latin typeface="+mn-lt"/>
                <a:ea typeface="+mn-ea"/>
                <a:cs typeface="+mn-cs"/>
              </a:defRPr>
            </a:lvl8pPr>
            <a:lvl9pPr marL="521686" indent="-172720" algn="l" defTabSz="895328" rtl="0" eaLnBrk="1" latinLnBrk="0" hangingPunct="1">
              <a:spcBef>
                <a:spcPts val="0"/>
              </a:spcBef>
              <a:spcAft>
                <a:spcPts val="978"/>
              </a:spcAft>
              <a:buFont typeface="Verdana" panose="020B0604030504040204" pitchFamily="34" charset="0"/>
              <a:buChar char="−"/>
              <a:defRPr sz="905" kern="1200" baseline="0">
                <a:solidFill>
                  <a:schemeClr val="tx1"/>
                </a:solidFill>
                <a:latin typeface="+mn-lt"/>
                <a:ea typeface="+mn-ea"/>
                <a:cs typeface="+mn-cs"/>
              </a:defRPr>
            </a:lvl9pPr>
          </a:lstStyle>
          <a:p>
            <a:pPr marL="285750" indent="-285750">
              <a:spcAft>
                <a:spcPts val="1200"/>
              </a:spcAft>
              <a:buFont typeface="Arial" panose="020B0604020202020204" pitchFamily="34" charset="0"/>
              <a:buChar char="•"/>
            </a:pPr>
            <a:r>
              <a:rPr lang="en-US" sz="1600" dirty="0">
                <a:latin typeface="Open Sans" panose="020B0606030504020204" pitchFamily="34" charset="0"/>
                <a:ea typeface="Open Sans" panose="020B0606030504020204" pitchFamily="34" charset="0"/>
                <a:cs typeface="Open Sans" panose="020B0606030504020204" pitchFamily="34" charset="0"/>
              </a:rPr>
              <a:t>Australia’s economic environment has been very challenging. A cost of living crisis has been compounded by sharply higher interest rates. At present underlying inflation remains elevated and economic growth is teetering on stagnation. </a:t>
            </a:r>
          </a:p>
          <a:p>
            <a:pPr marL="285750" indent="-285750">
              <a:spcAft>
                <a:spcPts val="1200"/>
              </a:spcAft>
              <a:buFont typeface="Arial" panose="020B0604020202020204" pitchFamily="34" charset="0"/>
              <a:buChar char="•"/>
            </a:pPr>
            <a:r>
              <a:rPr lang="en-US" sz="1600" dirty="0">
                <a:latin typeface="Open Sans" panose="020B0606030504020204" pitchFamily="34" charset="0"/>
                <a:ea typeface="Open Sans" panose="020B0606030504020204" pitchFamily="34" charset="0"/>
                <a:cs typeface="Open Sans" panose="020B0606030504020204" pitchFamily="34" charset="0"/>
              </a:rPr>
              <a:t>June quarter </a:t>
            </a:r>
            <a:r>
              <a:rPr lang="en-US" sz="1600" b="1" dirty="0">
                <a:latin typeface="Open Sans" panose="020B0606030504020204" pitchFamily="34" charset="0"/>
                <a:ea typeface="Open Sans" panose="020B0606030504020204" pitchFamily="34" charset="0"/>
                <a:cs typeface="Open Sans" panose="020B0606030504020204" pitchFamily="34" charset="0"/>
              </a:rPr>
              <a:t>GDP data showed growth in the quarter of only 0.2%, and 1.0% over the past year – continuing the per capita recession.</a:t>
            </a:r>
          </a:p>
          <a:p>
            <a:pPr marL="285750" indent="-285750">
              <a:spcAft>
                <a:spcPts val="1200"/>
              </a:spcAft>
              <a:buFont typeface="Arial" panose="020B0604020202020204" pitchFamily="34" charset="0"/>
              <a:buChar char="•"/>
            </a:pPr>
            <a:r>
              <a:rPr lang="en-US" sz="1600" dirty="0">
                <a:latin typeface="Open Sans" panose="020B0606030504020204" pitchFamily="34" charset="0"/>
                <a:ea typeface="Open Sans" panose="020B0606030504020204" pitchFamily="34" charset="0"/>
                <a:cs typeface="Open Sans" panose="020B0606030504020204" pitchFamily="34" charset="0"/>
              </a:rPr>
              <a:t>In large part population growth, and a strong </a:t>
            </a:r>
            <a:r>
              <a:rPr lang="en-US" sz="1600" dirty="0" err="1">
                <a:latin typeface="Open Sans" panose="020B0606030504020204" pitchFamily="34" charset="0"/>
                <a:ea typeface="Open Sans" panose="020B0606030504020204" pitchFamily="34" charset="0"/>
                <a:cs typeface="Open Sans" panose="020B0606030504020204" pitchFamily="34" charset="0"/>
              </a:rPr>
              <a:t>labour</a:t>
            </a:r>
            <a:r>
              <a:rPr lang="en-US" sz="1600" dirty="0">
                <a:latin typeface="Open Sans" panose="020B0606030504020204" pitchFamily="34" charset="0"/>
                <a:ea typeface="Open Sans" panose="020B0606030504020204" pitchFamily="34" charset="0"/>
                <a:cs typeface="Open Sans" panose="020B0606030504020204" pitchFamily="34" charset="0"/>
              </a:rPr>
              <a:t> market, have kept the economy afloat amid a second retail recession and rising business insolvencies.</a:t>
            </a:r>
          </a:p>
          <a:p>
            <a:pPr marL="285750" indent="-285750">
              <a:spcAft>
                <a:spcPts val="1200"/>
              </a:spcAft>
              <a:buFont typeface="Arial" panose="020B0604020202020204" pitchFamily="34" charset="0"/>
              <a:buChar char="•"/>
            </a:pPr>
            <a:r>
              <a:rPr lang="en-US" sz="1600" dirty="0">
                <a:latin typeface="Open Sans" panose="020B0606030504020204" pitchFamily="34" charset="0"/>
                <a:ea typeface="Open Sans" panose="020B0606030504020204" pitchFamily="34" charset="0"/>
                <a:cs typeface="Open Sans" panose="020B0606030504020204" pitchFamily="34" charset="0"/>
              </a:rPr>
              <a:t>However, </a:t>
            </a:r>
            <a:r>
              <a:rPr lang="en-US" sz="1600" b="1" dirty="0">
                <a:latin typeface="Open Sans" panose="020B0606030504020204" pitchFamily="34" charset="0"/>
                <a:ea typeface="Open Sans" panose="020B0606030504020204" pitchFamily="34" charset="0"/>
                <a:cs typeface="Open Sans" panose="020B0606030504020204" pitchFamily="34" charset="0"/>
              </a:rPr>
              <a:t>we are likely at or very near the low point in the business cycle</a:t>
            </a:r>
            <a:r>
              <a:rPr lang="en-US" sz="1600" dirty="0">
                <a:latin typeface="Open Sans" panose="020B0606030504020204" pitchFamily="34" charset="0"/>
                <a:ea typeface="Open Sans" panose="020B0606030504020204" pitchFamily="34" charset="0"/>
                <a:cs typeface="Open Sans" panose="020B0606030504020204" pitchFamily="34" charset="0"/>
              </a:rPr>
              <a:t>.</a:t>
            </a:r>
          </a:p>
          <a:p>
            <a:pPr marL="285750" indent="-285750">
              <a:spcAft>
                <a:spcPts val="1200"/>
              </a:spcAft>
              <a:buFont typeface="Arial" panose="020B0604020202020204" pitchFamily="34" charset="0"/>
              <a:buChar char="•"/>
            </a:pPr>
            <a:r>
              <a:rPr lang="en-US" sz="1600" dirty="0">
                <a:latin typeface="Open Sans" panose="020B0606030504020204" pitchFamily="34" charset="0"/>
                <a:ea typeface="Open Sans" panose="020B0606030504020204" pitchFamily="34" charset="0"/>
                <a:cs typeface="Open Sans" panose="020B0606030504020204" pitchFamily="34" charset="0"/>
              </a:rPr>
              <a:t>Tax cuts are providing a notable boost to incomes, along with other cost of living relief, while real wages are now (just) growing. Increasingly this income, and interest rate cuts in 2025, will flow through to consumer spending and </a:t>
            </a:r>
            <a:r>
              <a:rPr lang="en-US" sz="1600" b="1" dirty="0">
                <a:latin typeface="Open Sans" panose="020B0606030504020204" pitchFamily="34" charset="0"/>
                <a:ea typeface="Open Sans" panose="020B0606030504020204" pitchFamily="34" charset="0"/>
                <a:cs typeface="Open Sans" panose="020B0606030504020204" pitchFamily="34" charset="0"/>
              </a:rPr>
              <a:t>more substantial economic growth in 2025.</a:t>
            </a:r>
          </a:p>
        </p:txBody>
      </p:sp>
      <p:graphicFrame>
        <p:nvGraphicFramePr>
          <p:cNvPr id="8" name="Table 15">
            <a:extLst>
              <a:ext uri="{FF2B5EF4-FFF2-40B4-BE49-F238E27FC236}">
                <a16:creationId xmlns:a16="http://schemas.microsoft.com/office/drawing/2014/main" id="{D182C12D-6A42-3A09-ACE2-813110050C04}"/>
              </a:ext>
            </a:extLst>
          </p:cNvPr>
          <p:cNvGraphicFramePr>
            <a:graphicFrameLocks noGrp="1"/>
          </p:cNvGraphicFramePr>
          <p:nvPr>
            <p:extLst>
              <p:ext uri="{D42A27DB-BD31-4B8C-83A1-F6EECF244321}">
                <p14:modId xmlns:p14="http://schemas.microsoft.com/office/powerpoint/2010/main" val="3745417997"/>
              </p:ext>
            </p:extLst>
          </p:nvPr>
        </p:nvGraphicFramePr>
        <p:xfrm>
          <a:off x="387320" y="480293"/>
          <a:ext cx="11292695" cy="396240"/>
        </p:xfrm>
        <a:graphic>
          <a:graphicData uri="http://schemas.openxmlformats.org/drawingml/2006/table">
            <a:tbl>
              <a:tblPr firstRow="1" bandRow="1">
                <a:tableStyleId>{5C22544A-7EE6-4342-B048-85BDC9FD1C3A}</a:tableStyleId>
              </a:tblPr>
              <a:tblGrid>
                <a:gridCol w="11292695">
                  <a:extLst>
                    <a:ext uri="{9D8B030D-6E8A-4147-A177-3AD203B41FA5}">
                      <a16:colId xmlns:a16="http://schemas.microsoft.com/office/drawing/2014/main" val="1216123402"/>
                    </a:ext>
                  </a:extLst>
                </a:gridCol>
              </a:tblGrid>
              <a:tr h="370840">
                <a:tc>
                  <a:txBody>
                    <a:bodyPr/>
                    <a:lstStyle/>
                    <a:p>
                      <a:pPr marL="0" marR="0" lvl="0" indent="0" algn="l" defTabSz="895328" rtl="0" eaLnBrk="1" fontAlgn="auto" latinLnBrk="0" hangingPunct="1">
                        <a:lnSpc>
                          <a:spcPct val="100000"/>
                        </a:lnSpc>
                        <a:spcBef>
                          <a:spcPts val="0"/>
                        </a:spcBef>
                        <a:spcAft>
                          <a:spcPts val="0"/>
                        </a:spcAft>
                        <a:buClrTx/>
                        <a:buSzTx/>
                        <a:buFontTx/>
                        <a:buNone/>
                        <a:tabLst/>
                        <a:defRPr/>
                      </a:pPr>
                      <a:r>
                        <a:rPr lang="en-AU" sz="2000" b="1" kern="12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The Australian economic environment remains challenging</a:t>
                      </a:r>
                      <a:endParaRPr lang="en-AU" sz="2000" b="1" kern="120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endParaRPr>
                    </a:p>
                  </a:txBody>
                  <a:tcPr>
                    <a:lnB w="28575"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val="237313093"/>
                  </a:ext>
                </a:extLst>
              </a:tr>
            </a:tbl>
          </a:graphicData>
        </a:graphic>
      </p:graphicFrame>
    </p:spTree>
    <p:extLst>
      <p:ext uri="{BB962C8B-B14F-4D97-AF65-F5344CB8AC3E}">
        <p14:creationId xmlns:p14="http://schemas.microsoft.com/office/powerpoint/2010/main" val="942937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4">
            <a:extLst>
              <a:ext uri="{FF2B5EF4-FFF2-40B4-BE49-F238E27FC236}">
                <a16:creationId xmlns:a16="http://schemas.microsoft.com/office/drawing/2014/main" id="{D0E77BC6-98DA-819F-FEE1-0D5FE33AEB29}"/>
              </a:ext>
            </a:extLst>
          </p:cNvPr>
          <p:cNvSpPr>
            <a:spLocks noGrp="1"/>
          </p:cNvSpPr>
          <p:nvPr>
            <p:ph sz="quarter" idx="10"/>
          </p:nvPr>
        </p:nvSpPr>
        <p:spPr>
          <a:xfrm>
            <a:off x="346996" y="998399"/>
            <a:ext cx="5540210" cy="5267224"/>
          </a:xfrm>
        </p:spPr>
        <p:txBody>
          <a:bodyPr vert="horz" lIns="0" tIns="0" rIns="0" bIns="0" numCol="1" spcCol="360000" rtlCol="0">
            <a:noAutofit/>
          </a:bodyPr>
          <a:lstStyle/>
          <a:p>
            <a:pPr marL="285750" indent="-285750">
              <a:spcAft>
                <a:spcPts val="1200"/>
              </a:spcAft>
              <a:buFont typeface="Arial" panose="020B0604020202020204" pitchFamily="34" charset="0"/>
              <a:buChar char="•"/>
            </a:pPr>
            <a:r>
              <a:rPr lang="en-US" sz="1600" b="1" dirty="0">
                <a:latin typeface="Open Sans" panose="020B0606030504020204" pitchFamily="34" charset="0"/>
                <a:ea typeface="Open Sans" panose="020B0606030504020204" pitchFamily="34" charset="0"/>
                <a:cs typeface="Open Sans" panose="020B0606030504020204" pitchFamily="34" charset="0"/>
              </a:rPr>
              <a:t>The Consumer Price Index (CPI) rose 2.8% </a:t>
            </a:r>
            <a:r>
              <a:rPr lang="en-US" sz="1600" dirty="0">
                <a:latin typeface="Open Sans" panose="020B0606030504020204" pitchFamily="34" charset="0"/>
                <a:ea typeface="Open Sans" panose="020B0606030504020204" pitchFamily="34" charset="0"/>
                <a:cs typeface="Open Sans" panose="020B0606030504020204" pitchFamily="34" charset="0"/>
              </a:rPr>
              <a:t>over the year to September, returning to the RBA’s target band for the first time since 2021.</a:t>
            </a:r>
          </a:p>
          <a:p>
            <a:pPr marL="285750" indent="-285750">
              <a:spcAft>
                <a:spcPts val="1200"/>
              </a:spcAft>
              <a:buFont typeface="Arial" panose="020B0604020202020204" pitchFamily="34" charset="0"/>
              <a:buChar char="•"/>
            </a:pPr>
            <a:r>
              <a:rPr lang="en-US" sz="1600" dirty="0">
                <a:latin typeface="Open Sans" panose="020B0606030504020204" pitchFamily="34" charset="0"/>
                <a:ea typeface="Open Sans" panose="020B0606030504020204" pitchFamily="34" charset="0"/>
                <a:cs typeface="Open Sans" panose="020B0606030504020204" pitchFamily="34" charset="0"/>
              </a:rPr>
              <a:t>However, trimmed mean inflation – the Reserve Bank’s preferred measure – remained at 3.5% over the year to September. </a:t>
            </a:r>
          </a:p>
          <a:p>
            <a:pPr marL="285750" indent="-285750">
              <a:spcAft>
                <a:spcPts val="1200"/>
              </a:spcAft>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The inflation surge was first seen in goods prices, but it has now become more embedded in services prices. The price of goods rose 1.4% over the year to September  2024, but services inflation was 4.6%. This is the second consecutive quarter which has seen an increase in service price inflation. </a:t>
            </a:r>
          </a:p>
          <a:p>
            <a:pPr marL="285750" indent="-285750">
              <a:spcAft>
                <a:spcPts val="1200"/>
              </a:spcAft>
              <a:buFont typeface="Arial" panose="020B0604020202020204" pitchFamily="34" charset="0"/>
              <a:buChar char="•"/>
            </a:pPr>
            <a:r>
              <a:rPr lang="en-GB" sz="1600" dirty="0">
                <a:latin typeface="Open Sans" panose="020B0606030504020204" pitchFamily="34" charset="0"/>
                <a:ea typeface="Open Sans" panose="020B0606030504020204" pitchFamily="34" charset="0"/>
                <a:cs typeface="Open Sans" panose="020B0606030504020204" pitchFamily="34" charset="0"/>
              </a:rPr>
              <a:t>The Reserve Bank’s statements suggest underlying inflation is expected to reach 3% by June 2025. </a:t>
            </a:r>
          </a:p>
        </p:txBody>
      </p:sp>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940040698"/>
              </p:ext>
            </p:extLst>
          </p:nvPr>
        </p:nvGraphicFramePr>
        <p:xfrm>
          <a:off x="1265510" y="85294"/>
          <a:ext cx="1548" cy="154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p:cNvPicPr/>
                      <p:nvPr/>
                    </p:nvPicPr>
                    <p:blipFill>
                      <a:blip r:embed="rId5"/>
                      <a:stretch>
                        <a:fillRect/>
                      </a:stretch>
                    </p:blipFill>
                    <p:spPr>
                      <a:xfrm>
                        <a:off x="1265510" y="85294"/>
                        <a:ext cx="1548" cy="1548"/>
                      </a:xfrm>
                      <a:prstGeom prst="rect">
                        <a:avLst/>
                      </a:prstGeom>
                    </p:spPr>
                  </p:pic>
                </p:oleObj>
              </mc:Fallback>
            </mc:AlternateContent>
          </a:graphicData>
        </a:graphic>
      </p:graphicFrame>
      <p:sp>
        <p:nvSpPr>
          <p:cNvPr id="13" name="TextBox 12">
            <a:extLst>
              <a:ext uri="{FF2B5EF4-FFF2-40B4-BE49-F238E27FC236}">
                <a16:creationId xmlns:a16="http://schemas.microsoft.com/office/drawing/2014/main" id="{C0328688-7C75-4F95-AE7E-4E41913CE017}"/>
              </a:ext>
            </a:extLst>
          </p:cNvPr>
          <p:cNvSpPr txBox="1"/>
          <p:nvPr/>
        </p:nvSpPr>
        <p:spPr>
          <a:xfrm>
            <a:off x="6349658" y="3390474"/>
            <a:ext cx="5543249" cy="215187"/>
          </a:xfrm>
          <a:prstGeom prst="rect">
            <a:avLst/>
          </a:prstGeom>
          <a:noFill/>
        </p:spPr>
        <p:txBody>
          <a:bodyPr wrap="square">
            <a:spAutoFit/>
          </a:bodyPr>
          <a:lstStyle>
            <a:defPPr>
              <a:defRPr lang="en-US"/>
            </a:defPPr>
            <a:lvl1pPr>
              <a:lnSpc>
                <a:spcPct val="110000"/>
              </a:lnSpc>
              <a:spcAft>
                <a:spcPts val="850"/>
              </a:spcAft>
              <a:defRPr sz="1100">
                <a:solidFill>
                  <a:srgbClr val="75787B"/>
                </a:solidFill>
                <a:effectLst/>
                <a:latin typeface="+mj-lt"/>
                <a:ea typeface="Verdana" panose="020B0604030504040204" pitchFamily="34" charset="0"/>
                <a:cs typeface="Open Sans Light" panose="020B0306030504020204" pitchFamily="34" charset="0"/>
              </a:defRPr>
            </a:lvl1pPr>
          </a:lstStyle>
          <a:p>
            <a:r>
              <a:rPr lang="en-AU" sz="800" i="1"/>
              <a:t>Source: ABS Consumer Price Index, Australia. </a:t>
            </a:r>
          </a:p>
        </p:txBody>
      </p:sp>
      <p:sp>
        <p:nvSpPr>
          <p:cNvPr id="12" name="Text Placeholder 2">
            <a:extLst>
              <a:ext uri="{FF2B5EF4-FFF2-40B4-BE49-F238E27FC236}">
                <a16:creationId xmlns:a16="http://schemas.microsoft.com/office/drawing/2014/main" id="{99DACB5E-2802-485F-8F58-5AFE48752130}"/>
              </a:ext>
            </a:extLst>
          </p:cNvPr>
          <p:cNvSpPr txBox="1">
            <a:spLocks/>
          </p:cNvSpPr>
          <p:nvPr/>
        </p:nvSpPr>
        <p:spPr>
          <a:xfrm>
            <a:off x="6334046" y="998399"/>
            <a:ext cx="5540210" cy="343745"/>
          </a:xfrm>
          <a:prstGeom prst="rect">
            <a:avLst/>
          </a:prstGeom>
        </p:spPr>
        <p:txBody>
          <a:bodyPr vert="horz" lIns="0" tIns="0" rIns="0" bIns="0" rtlCol="0">
            <a:noAutofit/>
          </a:bodyPr>
          <a:lstStyle>
            <a:defPPr>
              <a:defRPr lang="en-US"/>
            </a:defPPr>
            <a:lvl1pPr indent="0" defTabSz="1219170">
              <a:lnSpc>
                <a:spcPct val="110000"/>
              </a:lnSpc>
              <a:spcBef>
                <a:spcPts val="600"/>
              </a:spcBef>
              <a:spcAft>
                <a:spcPts val="600"/>
              </a:spcAft>
              <a:buClrTx/>
              <a:buSzPct val="100000"/>
              <a:buFont typeface="Arial" panose="020B0604020202020204" pitchFamily="34" charset="0"/>
              <a:buNone/>
              <a:defRPr sz="1100" b="0">
                <a:solidFill>
                  <a:srgbClr val="75787B"/>
                </a:solidFill>
                <a:effectLst/>
                <a:latin typeface="Open Sans Light" panose="020B0306030504020204" pitchFamily="34" charset="0"/>
                <a:ea typeface="Verdana" panose="020B0604030504040204" pitchFamily="34" charset="0"/>
                <a:cs typeface="Open Sans Light" panose="020B0306030504020204" pitchFamily="34" charset="0"/>
              </a:defRPr>
            </a:lvl1pPr>
            <a:lvl2pPr marL="0" indent="0" defTabSz="1219170">
              <a:spcBef>
                <a:spcPts val="0"/>
              </a:spcBef>
              <a:spcAft>
                <a:spcPts val="1000"/>
              </a:spcAft>
              <a:buClrTx/>
              <a:buSzPct val="100000"/>
              <a:buFont typeface="Arial" panose="020B0604020202020204" pitchFamily="34" charset="0"/>
              <a:buChar char="​"/>
              <a:defRPr sz="1200" b="1"/>
            </a:lvl2pPr>
            <a:lvl3pPr marL="172800" indent="-172800" defTabSz="1219170">
              <a:spcBef>
                <a:spcPts val="0"/>
              </a:spcBef>
              <a:spcAft>
                <a:spcPts val="1000"/>
              </a:spcAft>
              <a:buClrTx/>
              <a:buSzPct val="100000"/>
              <a:buFont typeface="Arial" panose="020B0604020202020204" pitchFamily="34" charset="0"/>
              <a:buChar char="•"/>
              <a:defRPr sz="1200"/>
            </a:lvl3pPr>
            <a:lvl4pPr marL="349200" indent="-176400" defTabSz="1219170">
              <a:spcBef>
                <a:spcPts val="0"/>
              </a:spcBef>
              <a:spcAft>
                <a:spcPts val="1000"/>
              </a:spcAft>
              <a:buClrTx/>
              <a:buSzPct val="100000"/>
              <a:buFont typeface="Verdana" panose="020B0604030504040204" pitchFamily="34" charset="0"/>
              <a:buChar char="−"/>
              <a:defRPr sz="1200" baseline="0"/>
            </a:lvl4pPr>
            <a:lvl5pPr marL="525600" indent="-176400" defTabSz="1064657">
              <a:spcBef>
                <a:spcPts val="0"/>
              </a:spcBef>
              <a:spcAft>
                <a:spcPts val="1000"/>
              </a:spcAft>
              <a:buClrTx/>
              <a:buSzPct val="100000"/>
              <a:buFont typeface="Verdana" panose="020B0604030504040204" pitchFamily="34" charset="0"/>
              <a:buChar char="−"/>
              <a:tabLst/>
              <a:defRPr sz="1200" baseline="0"/>
            </a:lvl5pPr>
            <a:lvl6pPr marL="525600" indent="-176400" defTabSz="1219170">
              <a:spcBef>
                <a:spcPts val="0"/>
              </a:spcBef>
              <a:spcAft>
                <a:spcPts val="1000"/>
              </a:spcAft>
              <a:buFont typeface="Verdana" panose="020B0604030504040204" pitchFamily="34" charset="0"/>
              <a:buChar char="−"/>
              <a:defRPr sz="1200" baseline="0"/>
            </a:lvl6pPr>
            <a:lvl7pPr marL="525600" indent="-176400" defTabSz="1219170">
              <a:spcBef>
                <a:spcPts val="0"/>
              </a:spcBef>
              <a:spcAft>
                <a:spcPts val="1000"/>
              </a:spcAft>
              <a:buFont typeface="Verdana" panose="020B0604030504040204" pitchFamily="34" charset="0"/>
              <a:buChar char="−"/>
              <a:defRPr sz="1200"/>
            </a:lvl7pPr>
            <a:lvl8pPr marL="525600" indent="-176400" defTabSz="1219170">
              <a:spcBef>
                <a:spcPts val="0"/>
              </a:spcBef>
              <a:spcAft>
                <a:spcPts val="1000"/>
              </a:spcAft>
              <a:buFont typeface="Verdana" panose="020B0604030504040204" pitchFamily="34" charset="0"/>
              <a:buChar char="−"/>
              <a:defRPr sz="1200" baseline="0"/>
            </a:lvl8pPr>
            <a:lvl9pPr marL="525600" indent="-176400" defTabSz="1219170">
              <a:spcBef>
                <a:spcPts val="0"/>
              </a:spcBef>
              <a:spcAft>
                <a:spcPts val="1000"/>
              </a:spcAft>
              <a:buFont typeface="Verdana" panose="020B0604030504040204" pitchFamily="34" charset="0"/>
              <a:buChar char="−"/>
              <a:defRPr sz="1200" baseline="0"/>
            </a:lvl9pPr>
          </a:lstStyle>
          <a:p>
            <a:r>
              <a:rPr lang="en-AU" sz="1050">
                <a:latin typeface="+mj-lt"/>
              </a:rPr>
              <a:t>Chart 1: Consumer Price Index, headline (annual growth)</a:t>
            </a:r>
          </a:p>
        </p:txBody>
      </p:sp>
      <p:sp>
        <p:nvSpPr>
          <p:cNvPr id="7" name="Title 1">
            <a:extLst>
              <a:ext uri="{FF2B5EF4-FFF2-40B4-BE49-F238E27FC236}">
                <a16:creationId xmlns:a16="http://schemas.microsoft.com/office/drawing/2014/main" id="{9D6CE910-AF45-F194-EF2B-FF5C418414B0}"/>
              </a:ext>
            </a:extLst>
          </p:cNvPr>
          <p:cNvSpPr txBox="1">
            <a:spLocks/>
          </p:cNvSpPr>
          <p:nvPr/>
        </p:nvSpPr>
        <p:spPr bwMode="gray">
          <a:xfrm>
            <a:off x="424972" y="449188"/>
            <a:ext cx="11339211" cy="921257"/>
          </a:xfrm>
          <a:prstGeom prst="rect">
            <a:avLst/>
          </a:prstGeom>
        </p:spPr>
        <p:txBody>
          <a:bodyPr vert="horz" lIns="0" tIns="0" rIns="0" bIns="0" rtlCol="0" anchor="t" anchorCtr="0">
            <a:normAutofit fontScale="97500"/>
          </a:bodyPr>
          <a:lstStyle>
            <a:lvl1pPr algn="l" defTabSz="895328" rtl="0" eaLnBrk="1" latinLnBrk="0" hangingPunct="1">
              <a:spcBef>
                <a:spcPct val="0"/>
              </a:spcBef>
              <a:buNone/>
              <a:defRPr sz="1808" kern="1200">
                <a:solidFill>
                  <a:schemeClr val="tx1"/>
                </a:solidFill>
                <a:latin typeface="+mj-lt"/>
                <a:ea typeface="+mj-ea"/>
                <a:cs typeface="+mj-cs"/>
              </a:defRPr>
            </a:lvl1pPr>
          </a:lstStyle>
          <a:p>
            <a:pPr>
              <a:lnSpc>
                <a:spcPct val="120000"/>
              </a:lnSpc>
            </a:pPr>
            <a:endParaRPr lang="en-US" sz="1600" b="1">
              <a:solidFill>
                <a:schemeClr val="bg1">
                  <a:lumMod val="50000"/>
                </a:schemeClr>
              </a:solidFill>
            </a:endParaRPr>
          </a:p>
        </p:txBody>
      </p:sp>
      <p:sp>
        <p:nvSpPr>
          <p:cNvPr id="9" name="Title 1">
            <a:extLst>
              <a:ext uri="{FF2B5EF4-FFF2-40B4-BE49-F238E27FC236}">
                <a16:creationId xmlns:a16="http://schemas.microsoft.com/office/drawing/2014/main" id="{5B285813-1A01-D197-2B62-CFAEEA7D2D4E}"/>
              </a:ext>
            </a:extLst>
          </p:cNvPr>
          <p:cNvSpPr txBox="1">
            <a:spLocks/>
          </p:cNvSpPr>
          <p:nvPr/>
        </p:nvSpPr>
        <p:spPr bwMode="gray">
          <a:xfrm>
            <a:off x="424972" y="157151"/>
            <a:ext cx="11339211" cy="349686"/>
          </a:xfrm>
          <a:prstGeom prst="rect">
            <a:avLst/>
          </a:prstGeom>
        </p:spPr>
        <p:txBody>
          <a:bodyPr vert="horz" lIns="0" tIns="0" rIns="0" bIns="0" rtlCol="0" anchor="t" anchorCtr="0">
            <a:normAutofit fontScale="97500"/>
          </a:bodyPr>
          <a:lstStyle>
            <a:lvl1pPr algn="l" defTabSz="895328" rtl="0" eaLnBrk="1" latinLnBrk="0" hangingPunct="1">
              <a:spcBef>
                <a:spcPct val="0"/>
              </a:spcBef>
              <a:buNone/>
              <a:defRPr sz="1808" kern="1200">
                <a:solidFill>
                  <a:schemeClr val="tx1"/>
                </a:solidFill>
                <a:latin typeface="+mj-lt"/>
                <a:ea typeface="+mj-ea"/>
                <a:cs typeface="+mj-cs"/>
              </a:defRPr>
            </a:lvl1pPr>
          </a:lstStyle>
          <a:p>
            <a:pPr>
              <a:lnSpc>
                <a:spcPct val="120000"/>
              </a:lnSpc>
            </a:pPr>
            <a:r>
              <a:rPr lang="en-AU" sz="1100" b="1" spc="600">
                <a:solidFill>
                  <a:schemeClr val="bg1">
                    <a:lumMod val="85000"/>
                  </a:schemeClr>
                </a:solidFill>
              </a:rPr>
              <a:t>INFLATION</a:t>
            </a:r>
            <a:endParaRPr lang="en-US" sz="700" b="1" spc="600">
              <a:solidFill>
                <a:schemeClr val="bg1">
                  <a:lumMod val="85000"/>
                </a:schemeClr>
              </a:solidFill>
            </a:endParaRPr>
          </a:p>
        </p:txBody>
      </p:sp>
      <p:graphicFrame>
        <p:nvGraphicFramePr>
          <p:cNvPr id="15" name="Table 15">
            <a:extLst>
              <a:ext uri="{FF2B5EF4-FFF2-40B4-BE49-F238E27FC236}">
                <a16:creationId xmlns:a16="http://schemas.microsoft.com/office/drawing/2014/main" id="{42BC971B-E6BF-CD20-027E-C96E17C1ADAF}"/>
              </a:ext>
            </a:extLst>
          </p:cNvPr>
          <p:cNvGraphicFramePr>
            <a:graphicFrameLocks noGrp="1"/>
          </p:cNvGraphicFramePr>
          <p:nvPr>
            <p:extLst>
              <p:ext uri="{D42A27DB-BD31-4B8C-83A1-F6EECF244321}">
                <p14:modId xmlns:p14="http://schemas.microsoft.com/office/powerpoint/2010/main" val="3960715732"/>
              </p:ext>
            </p:extLst>
          </p:nvPr>
        </p:nvGraphicFramePr>
        <p:xfrm>
          <a:off x="387320" y="480293"/>
          <a:ext cx="11292695" cy="396240"/>
        </p:xfrm>
        <a:graphic>
          <a:graphicData uri="http://schemas.openxmlformats.org/drawingml/2006/table">
            <a:tbl>
              <a:tblPr firstRow="1" bandRow="1">
                <a:tableStyleId>{5C22544A-7EE6-4342-B048-85BDC9FD1C3A}</a:tableStyleId>
              </a:tblPr>
              <a:tblGrid>
                <a:gridCol w="11292695">
                  <a:extLst>
                    <a:ext uri="{9D8B030D-6E8A-4147-A177-3AD203B41FA5}">
                      <a16:colId xmlns:a16="http://schemas.microsoft.com/office/drawing/2014/main" val="1216123402"/>
                    </a:ext>
                  </a:extLst>
                </a:gridCol>
              </a:tblGrid>
              <a:tr h="370840">
                <a:tc>
                  <a:txBody>
                    <a:bodyPr/>
                    <a:lstStyle/>
                    <a:p>
                      <a:pPr marL="0" marR="0" lvl="0" indent="0" algn="l" defTabSz="895328" rtl="0" eaLnBrk="1" fontAlgn="auto" latinLnBrk="0" hangingPunct="1">
                        <a:lnSpc>
                          <a:spcPct val="100000"/>
                        </a:lnSpc>
                        <a:spcBef>
                          <a:spcPts val="0"/>
                        </a:spcBef>
                        <a:spcAft>
                          <a:spcPts val="0"/>
                        </a:spcAft>
                        <a:buClrTx/>
                        <a:buSzTx/>
                        <a:buFontTx/>
                        <a:buNone/>
                        <a:tabLst/>
                        <a:defRPr/>
                      </a:pPr>
                      <a:r>
                        <a:rPr lang="en-AU" sz="2000" b="1" kern="12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Underlying inflation is edging down, but not quickly enough yet for the RBA</a:t>
                      </a:r>
                      <a:endParaRPr lang="en-AU" sz="2000" b="1" kern="120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endParaRPr>
                    </a:p>
                  </a:txBody>
                  <a:tcPr>
                    <a:lnB w="28575"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val="237313093"/>
                  </a:ext>
                </a:extLst>
              </a:tr>
            </a:tbl>
          </a:graphicData>
        </a:graphic>
      </p:graphicFrame>
      <p:sp>
        <p:nvSpPr>
          <p:cNvPr id="8" name="Text Placeholder 2">
            <a:extLst>
              <a:ext uri="{FF2B5EF4-FFF2-40B4-BE49-F238E27FC236}">
                <a16:creationId xmlns:a16="http://schemas.microsoft.com/office/drawing/2014/main" id="{E21829B1-8AAA-2EC7-2A53-B2DC576FDFD9}"/>
              </a:ext>
            </a:extLst>
          </p:cNvPr>
          <p:cNvSpPr txBox="1">
            <a:spLocks/>
          </p:cNvSpPr>
          <p:nvPr/>
        </p:nvSpPr>
        <p:spPr>
          <a:xfrm>
            <a:off x="6334046" y="3770505"/>
            <a:ext cx="5225949" cy="343745"/>
          </a:xfrm>
          <a:prstGeom prst="rect">
            <a:avLst/>
          </a:prstGeom>
        </p:spPr>
        <p:txBody>
          <a:bodyPr vert="horz" lIns="0" tIns="0" rIns="0" bIns="0" rtlCol="0">
            <a:noAutofit/>
          </a:bodyPr>
          <a:lstStyle>
            <a:lvl1pPr marL="0" indent="0" algn="l" defTabSz="1219170" rtl="0" eaLnBrk="1" latinLnBrk="0" hangingPunct="1">
              <a:spcBef>
                <a:spcPts val="0"/>
              </a:spcBef>
              <a:spcAft>
                <a:spcPts val="1000"/>
              </a:spcAft>
              <a:buClrTx/>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nSpc>
                <a:spcPct val="110000"/>
              </a:lnSpc>
              <a:spcBef>
                <a:spcPts val="600"/>
              </a:spcBef>
              <a:spcAft>
                <a:spcPts val="600"/>
              </a:spcAft>
            </a:pPr>
            <a:r>
              <a:rPr lang="en-AU" sz="1050">
                <a:solidFill>
                  <a:srgbClr val="75787B"/>
                </a:solidFill>
                <a:effectLst/>
                <a:latin typeface="+mj-lt"/>
                <a:ea typeface="Verdana" panose="020B0604030504040204" pitchFamily="34" charset="0"/>
                <a:cs typeface="Open Sans Light" panose="020B0306030504020204" pitchFamily="34" charset="0"/>
              </a:rPr>
              <a:t>Chart 2: </a:t>
            </a:r>
            <a:r>
              <a:rPr lang="en-US" sz="1050">
                <a:solidFill>
                  <a:schemeClr val="accent6"/>
                </a:solidFill>
                <a:latin typeface="+mj-lt"/>
                <a:ea typeface="Verdana" panose="020B0604030504040204" pitchFamily="34" charset="0"/>
              </a:rPr>
              <a:t>Annual goods and services inflation</a:t>
            </a:r>
          </a:p>
          <a:p>
            <a:pPr>
              <a:lnSpc>
                <a:spcPct val="110000"/>
              </a:lnSpc>
              <a:spcBef>
                <a:spcPts val="600"/>
              </a:spcBef>
              <a:spcAft>
                <a:spcPts val="600"/>
              </a:spcAft>
            </a:pPr>
            <a:endParaRPr lang="en-AU" sz="1050">
              <a:solidFill>
                <a:srgbClr val="75787B"/>
              </a:solidFill>
              <a:effectLst/>
              <a:latin typeface="+mj-lt"/>
              <a:ea typeface="Verdana" panose="020B0604030504040204" pitchFamily="34" charset="0"/>
              <a:cs typeface="Times New Roman" panose="02020603050405020304" pitchFamily="18" charset="0"/>
            </a:endParaRPr>
          </a:p>
        </p:txBody>
      </p:sp>
      <p:sp>
        <p:nvSpPr>
          <p:cNvPr id="6" name="TextBox 5">
            <a:extLst>
              <a:ext uri="{FF2B5EF4-FFF2-40B4-BE49-F238E27FC236}">
                <a16:creationId xmlns:a16="http://schemas.microsoft.com/office/drawing/2014/main" id="{3EC0E156-9AA6-315C-B5E0-E42CC64A4F31}"/>
              </a:ext>
            </a:extLst>
          </p:cNvPr>
          <p:cNvSpPr txBox="1"/>
          <p:nvPr/>
        </p:nvSpPr>
        <p:spPr>
          <a:xfrm>
            <a:off x="6334046" y="6265625"/>
            <a:ext cx="5543249" cy="215187"/>
          </a:xfrm>
          <a:prstGeom prst="rect">
            <a:avLst/>
          </a:prstGeom>
          <a:noFill/>
        </p:spPr>
        <p:txBody>
          <a:bodyPr wrap="square">
            <a:spAutoFit/>
          </a:bodyPr>
          <a:lstStyle>
            <a:defPPr>
              <a:defRPr lang="en-US"/>
            </a:defPPr>
            <a:lvl1pPr>
              <a:lnSpc>
                <a:spcPct val="110000"/>
              </a:lnSpc>
              <a:spcAft>
                <a:spcPts val="850"/>
              </a:spcAft>
              <a:defRPr sz="1100">
                <a:solidFill>
                  <a:srgbClr val="75787B"/>
                </a:solidFill>
                <a:effectLst/>
                <a:latin typeface="+mj-lt"/>
                <a:ea typeface="Verdana" panose="020B0604030504040204" pitchFamily="34" charset="0"/>
                <a:cs typeface="Open Sans Light" panose="020B0306030504020204" pitchFamily="34" charset="0"/>
              </a:defRPr>
            </a:lvl1pPr>
          </a:lstStyle>
          <a:p>
            <a:r>
              <a:rPr lang="en-AU" sz="800" i="1"/>
              <a:t>Source: ABS Consumer Price Index, Australia. </a:t>
            </a:r>
          </a:p>
        </p:txBody>
      </p:sp>
      <p:graphicFrame>
        <p:nvGraphicFramePr>
          <p:cNvPr id="5" name="Chart 4">
            <a:extLst>
              <a:ext uri="{FF2B5EF4-FFF2-40B4-BE49-F238E27FC236}">
                <a16:creationId xmlns:a16="http://schemas.microsoft.com/office/drawing/2014/main" id="{3F790DEE-7EDC-45F0-9E0D-AE83B4C2B7B7}"/>
              </a:ext>
            </a:extLst>
          </p:cNvPr>
          <p:cNvGraphicFramePr>
            <a:graphicFrameLocks/>
          </p:cNvGraphicFramePr>
          <p:nvPr>
            <p:extLst>
              <p:ext uri="{D42A27DB-BD31-4B8C-83A1-F6EECF244321}">
                <p14:modId xmlns:p14="http://schemas.microsoft.com/office/powerpoint/2010/main" val="2337425171"/>
              </p:ext>
            </p:extLst>
          </p:nvPr>
        </p:nvGraphicFramePr>
        <p:xfrm>
          <a:off x="6268337" y="4063313"/>
          <a:ext cx="5495846" cy="2160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0593BEC3-09C9-4BB2-B107-9BA2466A20B9}"/>
              </a:ext>
            </a:extLst>
          </p:cNvPr>
          <p:cNvGraphicFramePr>
            <a:graphicFrameLocks/>
          </p:cNvGraphicFramePr>
          <p:nvPr>
            <p:extLst>
              <p:ext uri="{D42A27DB-BD31-4B8C-83A1-F6EECF244321}">
                <p14:modId xmlns:p14="http://schemas.microsoft.com/office/powerpoint/2010/main" val="3203153455"/>
              </p:ext>
            </p:extLst>
          </p:nvPr>
        </p:nvGraphicFramePr>
        <p:xfrm>
          <a:off x="6268337" y="1208811"/>
          <a:ext cx="5495846" cy="2160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8701470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Person handing over keys">
            <a:extLst>
              <a:ext uri="{FF2B5EF4-FFF2-40B4-BE49-F238E27FC236}">
                <a16:creationId xmlns:a16="http://schemas.microsoft.com/office/drawing/2014/main" id="{EFAD8827-61F1-FAFE-922C-588003E4B057}"/>
              </a:ext>
            </a:extLst>
          </p:cNvPr>
          <p:cNvPicPr>
            <a:picLocks noChangeAspect="1"/>
          </p:cNvPicPr>
          <p:nvPr/>
        </p:nvPicPr>
        <p:blipFill rotWithShape="1">
          <a:blip r:embed="rId4"/>
          <a:srcRect l="30841" r="42983"/>
          <a:stretch/>
        </p:blipFill>
        <p:spPr>
          <a:xfrm>
            <a:off x="9517936" y="-18636"/>
            <a:ext cx="2700001" cy="6876635"/>
          </a:xfrm>
          <a:prstGeom prst="rect">
            <a:avLst/>
          </a:prstGeom>
        </p:spPr>
      </p:pic>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907593287"/>
              </p:ext>
            </p:extLst>
          </p:nvPr>
        </p:nvGraphicFramePr>
        <p:xfrm>
          <a:off x="1265510" y="85294"/>
          <a:ext cx="1548" cy="1548"/>
        </p:xfrm>
        <a:graphic>
          <a:graphicData uri="http://schemas.openxmlformats.org/presentationml/2006/ole">
            <mc:AlternateContent xmlns:mc="http://schemas.openxmlformats.org/markup-compatibility/2006">
              <mc:Choice xmlns:v="urn:schemas-microsoft-com:vml" Requires="v">
                <p:oleObj name="think-cell Slide" r:id="rId5" imgW="624" imgH="623" progId="TCLayout.ActiveDocument.1">
                  <p:embed/>
                </p:oleObj>
              </mc:Choice>
              <mc:Fallback>
                <p:oleObj name="think-cell Slide" r:id="rId5" imgW="624" imgH="623" progId="TCLayout.ActiveDocument.1">
                  <p:embed/>
                  <p:pic>
                    <p:nvPicPr>
                      <p:cNvPr id="3" name="Object 2" hidden="1"/>
                      <p:cNvPicPr/>
                      <p:nvPr/>
                    </p:nvPicPr>
                    <p:blipFill>
                      <a:blip r:embed="rId6"/>
                      <a:stretch>
                        <a:fillRect/>
                      </a:stretch>
                    </p:blipFill>
                    <p:spPr>
                      <a:xfrm>
                        <a:off x="1265510" y="85294"/>
                        <a:ext cx="1548" cy="1548"/>
                      </a:xfrm>
                      <a:prstGeom prst="rect">
                        <a:avLst/>
                      </a:prstGeom>
                    </p:spPr>
                  </p:pic>
                </p:oleObj>
              </mc:Fallback>
            </mc:AlternateContent>
          </a:graphicData>
        </a:graphic>
      </p:graphicFrame>
      <p:sp>
        <p:nvSpPr>
          <p:cNvPr id="2" name="Rectangle 2">
            <a:extLst>
              <a:ext uri="{FF2B5EF4-FFF2-40B4-BE49-F238E27FC236}">
                <a16:creationId xmlns:a16="http://schemas.microsoft.com/office/drawing/2014/main" id="{9D85EEFC-0EFA-A15A-8AC3-5F29D8CC30BC}"/>
              </a:ext>
            </a:extLst>
          </p:cNvPr>
          <p:cNvSpPr>
            <a:spLocks noChangeArrowheads="1"/>
          </p:cNvSpPr>
          <p:nvPr/>
        </p:nvSpPr>
        <p:spPr bwMode="auto">
          <a:xfrm>
            <a:off x="5204505" y="3066548"/>
            <a:ext cx="4171950"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AU" altLang="en-US" sz="1050" b="0" i="0" u="none" strike="noStrike" cap="none" normalizeH="0" baseline="0">
                <a:ln>
                  <a:noFill/>
                </a:ln>
                <a:solidFill>
                  <a:srgbClr val="75787B"/>
                </a:solidFill>
                <a:effectLst/>
                <a:latin typeface="+mj-lt"/>
                <a:ea typeface="Verdana" panose="020B0604030504040204" pitchFamily="34" charset="0"/>
                <a:cs typeface="Open Sans Light" panose="020B0306030504020204" pitchFamily="34" charset="0"/>
              </a:rPr>
              <a:t>Chart 4: Share of borrower with a cash shortfall</a:t>
            </a:r>
            <a:endParaRPr kumimoji="0" lang="en-AU" altLang="en-US" sz="1050" b="0" i="0" u="none" strike="noStrike" cap="none" normalizeH="0" baseline="0">
              <a:ln>
                <a:noFill/>
              </a:ln>
              <a:solidFill>
                <a:schemeClr val="tx1"/>
              </a:solidFill>
              <a:effectLst/>
              <a:latin typeface="+mj-l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AU" altLang="en-US" sz="1050" b="0" i="0" u="none" strike="noStrike" cap="none" normalizeH="0" baseline="0">
              <a:ln>
                <a:noFill/>
              </a:ln>
              <a:solidFill>
                <a:schemeClr val="tx1"/>
              </a:solidFill>
              <a:effectLst/>
              <a:latin typeface="+mj-lt"/>
            </a:endParaRPr>
          </a:p>
        </p:txBody>
      </p:sp>
      <p:sp>
        <p:nvSpPr>
          <p:cNvPr id="9" name="Rectangle 3">
            <a:extLst>
              <a:ext uri="{FF2B5EF4-FFF2-40B4-BE49-F238E27FC236}">
                <a16:creationId xmlns:a16="http://schemas.microsoft.com/office/drawing/2014/main" id="{D923BD86-9C56-2393-60C6-491C80AD2B2B}"/>
              </a:ext>
            </a:extLst>
          </p:cNvPr>
          <p:cNvSpPr>
            <a:spLocks noChangeArrowheads="1"/>
          </p:cNvSpPr>
          <p:nvPr/>
        </p:nvSpPr>
        <p:spPr bwMode="auto">
          <a:xfrm>
            <a:off x="5063024" y="6240265"/>
            <a:ext cx="5120304"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AU" altLang="en-US" sz="800" b="0" i="1" u="none" strike="noStrike" cap="none" normalizeH="0" baseline="0">
                <a:ln>
                  <a:noFill/>
                </a:ln>
                <a:solidFill>
                  <a:srgbClr val="75787B"/>
                </a:solidFill>
                <a:effectLst/>
                <a:latin typeface="+mj-lt"/>
                <a:ea typeface="Verdana" panose="020B0604030504040204" pitchFamily="34" charset="0"/>
                <a:cs typeface="Open Sans Light" panose="020B0306030504020204" pitchFamily="34" charset="0"/>
              </a:rPr>
              <a:t>Source: RBA Financial Stability Review. </a:t>
            </a:r>
            <a:endParaRPr kumimoji="0" lang="en-AU" altLang="en-US" sz="800" b="0" i="1" u="none" strike="noStrike" cap="none" normalizeH="0" baseline="0">
              <a:ln>
                <a:noFill/>
              </a:ln>
              <a:solidFill>
                <a:schemeClr val="tx1"/>
              </a:solidFill>
              <a:effectLst/>
              <a:latin typeface="+mj-lt"/>
            </a:endParaRPr>
          </a:p>
        </p:txBody>
      </p:sp>
      <p:sp>
        <p:nvSpPr>
          <p:cNvPr id="15" name="Rectangle 5">
            <a:extLst>
              <a:ext uri="{FF2B5EF4-FFF2-40B4-BE49-F238E27FC236}">
                <a16:creationId xmlns:a16="http://schemas.microsoft.com/office/drawing/2014/main" id="{5EFF0692-37B4-3285-1EA6-115A881C0CB4}"/>
              </a:ext>
            </a:extLst>
          </p:cNvPr>
          <p:cNvSpPr>
            <a:spLocks noChangeArrowheads="1"/>
          </p:cNvSpPr>
          <p:nvPr/>
        </p:nvSpPr>
        <p:spPr bwMode="auto">
          <a:xfrm>
            <a:off x="361315" y="3061174"/>
            <a:ext cx="4321366" cy="5770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AU" altLang="en-US" sz="1050" b="0" i="0" u="none" strike="noStrike" cap="none" normalizeH="0" baseline="0">
                <a:ln>
                  <a:noFill/>
                </a:ln>
                <a:solidFill>
                  <a:srgbClr val="75787B"/>
                </a:solidFill>
                <a:effectLst/>
                <a:latin typeface="+mj-lt"/>
                <a:ea typeface="Verdana" panose="020B0604030504040204" pitchFamily="34" charset="0"/>
                <a:cs typeface="Open Sans Light" panose="020B0306030504020204" pitchFamily="34" charset="0"/>
              </a:rPr>
              <a:t>Chart 3: Mortgage payments as a share of household disposable income </a:t>
            </a:r>
            <a:endParaRPr kumimoji="0" lang="en-AU" altLang="en-US" sz="1050" b="0" i="0" u="none" strike="noStrike" cap="none" normalizeH="0" baseline="0">
              <a:ln>
                <a:noFill/>
              </a:ln>
              <a:solidFill>
                <a:schemeClr val="tx1"/>
              </a:solidFill>
              <a:effectLst/>
              <a:latin typeface="+mj-l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AU" altLang="en-US" sz="1050" b="0" i="0" u="none" strike="noStrike" cap="none" normalizeH="0" baseline="0">
              <a:ln>
                <a:noFill/>
              </a:ln>
              <a:solidFill>
                <a:schemeClr val="tx1"/>
              </a:solidFill>
              <a:effectLst/>
              <a:latin typeface="+mj-lt"/>
            </a:endParaRPr>
          </a:p>
        </p:txBody>
      </p:sp>
      <p:sp>
        <p:nvSpPr>
          <p:cNvPr id="17" name="Rectangle 6">
            <a:extLst>
              <a:ext uri="{FF2B5EF4-FFF2-40B4-BE49-F238E27FC236}">
                <a16:creationId xmlns:a16="http://schemas.microsoft.com/office/drawing/2014/main" id="{CA6C70E4-A461-A70B-EDFD-16297C3F1780}"/>
              </a:ext>
            </a:extLst>
          </p:cNvPr>
          <p:cNvSpPr>
            <a:spLocks noChangeArrowheads="1"/>
          </p:cNvSpPr>
          <p:nvPr/>
        </p:nvSpPr>
        <p:spPr bwMode="auto">
          <a:xfrm>
            <a:off x="471488" y="6078340"/>
            <a:ext cx="4190048"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AU" altLang="en-US" sz="800" b="0" i="1" u="none" strike="noStrike" cap="none" normalizeH="0" baseline="0">
                <a:ln>
                  <a:noFill/>
                </a:ln>
                <a:solidFill>
                  <a:srgbClr val="75787B"/>
                </a:solidFill>
                <a:effectLst/>
                <a:latin typeface="+mj-lt"/>
                <a:ea typeface="Verdana" panose="020B0604030504040204" pitchFamily="34" charset="0"/>
                <a:cs typeface="Open Sans Light" panose="020B0306030504020204" pitchFamily="34" charset="0"/>
              </a:rPr>
              <a:t>Source: RBA; APRA; ABS Australian National Accounts: National Income, Expenditure and Product</a:t>
            </a:r>
            <a:r>
              <a:rPr lang="en-AU" altLang="en-US" sz="800" i="1">
                <a:solidFill>
                  <a:srgbClr val="75787B"/>
                </a:solidFill>
                <a:latin typeface="+mj-lt"/>
                <a:ea typeface="Verdana" panose="020B0604030504040204" pitchFamily="34" charset="0"/>
                <a:cs typeface="Open Sans Light" panose="020B0306030504020204" pitchFamily="34" charset="0"/>
              </a:rPr>
              <a:t>.</a:t>
            </a:r>
            <a:endParaRPr kumimoji="0" lang="en-AU" altLang="en-US" sz="800" b="0" i="1" u="none" strike="noStrike" cap="none" normalizeH="0" baseline="0">
              <a:ln>
                <a:noFill/>
              </a:ln>
              <a:solidFill>
                <a:schemeClr val="tx1"/>
              </a:solidFill>
              <a:effectLst/>
              <a:latin typeface="+mj-lt"/>
            </a:endParaRPr>
          </a:p>
        </p:txBody>
      </p:sp>
      <p:sp>
        <p:nvSpPr>
          <p:cNvPr id="18" name="Title 1">
            <a:extLst>
              <a:ext uri="{FF2B5EF4-FFF2-40B4-BE49-F238E27FC236}">
                <a16:creationId xmlns:a16="http://schemas.microsoft.com/office/drawing/2014/main" id="{893A3E02-D1B9-5DC4-FD7B-AFBB0FE31AEE}"/>
              </a:ext>
            </a:extLst>
          </p:cNvPr>
          <p:cNvSpPr txBox="1">
            <a:spLocks/>
          </p:cNvSpPr>
          <p:nvPr/>
        </p:nvSpPr>
        <p:spPr bwMode="gray">
          <a:xfrm>
            <a:off x="424972" y="157151"/>
            <a:ext cx="11339211" cy="349686"/>
          </a:xfrm>
          <a:prstGeom prst="rect">
            <a:avLst/>
          </a:prstGeom>
        </p:spPr>
        <p:txBody>
          <a:bodyPr vert="horz" lIns="0" tIns="0" rIns="0" bIns="0" rtlCol="0" anchor="t" anchorCtr="0">
            <a:normAutofit fontScale="97500"/>
          </a:bodyPr>
          <a:lstStyle>
            <a:lvl1pPr algn="l" defTabSz="895328" rtl="0" eaLnBrk="1" latinLnBrk="0" hangingPunct="1">
              <a:spcBef>
                <a:spcPct val="0"/>
              </a:spcBef>
              <a:buNone/>
              <a:defRPr sz="1808" kern="1200">
                <a:solidFill>
                  <a:schemeClr val="tx1"/>
                </a:solidFill>
                <a:latin typeface="+mj-lt"/>
                <a:ea typeface="+mj-ea"/>
                <a:cs typeface="+mj-cs"/>
              </a:defRPr>
            </a:lvl1pPr>
          </a:lstStyle>
          <a:p>
            <a:pPr>
              <a:lnSpc>
                <a:spcPct val="120000"/>
              </a:lnSpc>
            </a:pPr>
            <a:r>
              <a:rPr lang="en-AU" sz="1100" b="1" spc="600">
                <a:solidFill>
                  <a:schemeClr val="bg1">
                    <a:lumMod val="85000"/>
                  </a:schemeClr>
                </a:solidFill>
              </a:rPr>
              <a:t>INTEREST RATES</a:t>
            </a:r>
            <a:endParaRPr lang="en-US" sz="700" b="1" spc="600">
              <a:solidFill>
                <a:schemeClr val="bg1">
                  <a:lumMod val="85000"/>
                </a:schemeClr>
              </a:solidFill>
            </a:endParaRPr>
          </a:p>
        </p:txBody>
      </p:sp>
      <p:sp>
        <p:nvSpPr>
          <p:cNvPr id="19" name="Content Placeholder 4">
            <a:extLst>
              <a:ext uri="{FF2B5EF4-FFF2-40B4-BE49-F238E27FC236}">
                <a16:creationId xmlns:a16="http://schemas.microsoft.com/office/drawing/2014/main" id="{238F5F26-D2F1-45CC-9971-6690D820DF92}"/>
              </a:ext>
            </a:extLst>
          </p:cNvPr>
          <p:cNvSpPr>
            <a:spLocks noGrp="1"/>
          </p:cNvSpPr>
          <p:nvPr>
            <p:ph sz="quarter" idx="10"/>
          </p:nvPr>
        </p:nvSpPr>
        <p:spPr>
          <a:xfrm>
            <a:off x="387321" y="1002528"/>
            <a:ext cx="8718580" cy="1270552"/>
          </a:xfrm>
        </p:spPr>
        <p:txBody>
          <a:bodyPr vert="horz" lIns="0" tIns="0" rIns="0" bIns="0" numCol="1" spcCol="360000" rtlCol="0">
            <a:noAutofit/>
          </a:bodyPr>
          <a:lstStyle/>
          <a:p>
            <a:pPr marL="285750" indent="-285750">
              <a:lnSpc>
                <a:spcPct val="110000"/>
              </a:lnSpc>
              <a:spcAft>
                <a:spcPts val="850"/>
              </a:spcAft>
              <a:buFont typeface="Arial" panose="020B0604020202020204" pitchFamily="34" charset="0"/>
              <a:buChar char="•"/>
            </a:pPr>
            <a:r>
              <a:rPr lang="en-AU" sz="1600" dirty="0">
                <a:effectLst/>
                <a:latin typeface="Open Sans" panose="020B0606030504020204" pitchFamily="34" charset="0"/>
                <a:ea typeface="Open Sans" panose="020B0606030504020204" pitchFamily="34" charset="0"/>
                <a:cs typeface="Open Sans" panose="020B0606030504020204" pitchFamily="34" charset="0"/>
              </a:rPr>
              <a:t>The cash rate has now remained at 4.35% since November 2023, although messaging from the RBA Board has softened slightly, as Michelle Bullock noted that </a:t>
            </a:r>
            <a:r>
              <a:rPr lang="en-AU" sz="1600" b="1" dirty="0">
                <a:effectLst/>
                <a:latin typeface="Open Sans" panose="020B0606030504020204" pitchFamily="34" charset="0"/>
                <a:ea typeface="Open Sans" panose="020B0606030504020204" pitchFamily="34" charset="0"/>
                <a:cs typeface="Open Sans" panose="020B0606030504020204" pitchFamily="34" charset="0"/>
              </a:rPr>
              <a:t>the RBA Board did not consider a rate rise in the last two Board meetings. </a:t>
            </a:r>
          </a:p>
          <a:p>
            <a:pPr marL="285750" indent="-285750">
              <a:lnSpc>
                <a:spcPct val="110000"/>
              </a:lnSpc>
              <a:spcAft>
                <a:spcPts val="850"/>
              </a:spcAft>
              <a:buFont typeface="Arial" panose="020B0604020202020204" pitchFamily="34" charset="0"/>
              <a:buChar char="•"/>
            </a:pPr>
            <a:r>
              <a:rPr lang="en-AU" sz="1600" dirty="0">
                <a:effectLst/>
                <a:latin typeface="Open Sans" panose="020B0606030504020204" pitchFamily="34" charset="0"/>
                <a:ea typeface="Open Sans" panose="020B0606030504020204" pitchFamily="34" charset="0"/>
                <a:cs typeface="Open Sans" panose="020B0606030504020204" pitchFamily="34" charset="0"/>
              </a:rPr>
              <a:t>The bulk of market forecasts are for interest rate reductions to commence between February and June 2025.</a:t>
            </a:r>
          </a:p>
          <a:p>
            <a:pPr marL="285750" indent="-285750">
              <a:buFont typeface="Arial" panose="020B0604020202020204" pitchFamily="34" charset="0"/>
              <a:buChar char="•"/>
            </a:pPr>
            <a:r>
              <a:rPr lang="en-US" sz="1600" dirty="0">
                <a:latin typeface="Open Sans" panose="020B0606030504020204" pitchFamily="34" charset="0"/>
                <a:ea typeface="Open Sans" panose="020B0606030504020204" pitchFamily="34" charset="0"/>
                <a:cs typeface="Open Sans" panose="020B0606030504020204" pitchFamily="34" charset="0"/>
              </a:rPr>
              <a:t>According to the RBA’s Financial Stability Statement, </a:t>
            </a:r>
            <a:r>
              <a:rPr lang="en-US" sz="1600" b="1" dirty="0">
                <a:latin typeface="Open Sans" panose="020B0606030504020204" pitchFamily="34" charset="0"/>
                <a:ea typeface="Open Sans" panose="020B0606030504020204" pitchFamily="34" charset="0"/>
                <a:cs typeface="Open Sans" panose="020B0606030504020204" pitchFamily="34" charset="0"/>
              </a:rPr>
              <a:t>household budget pressures should be easing from the second half of 2024.</a:t>
            </a:r>
          </a:p>
        </p:txBody>
      </p:sp>
      <p:graphicFrame>
        <p:nvGraphicFramePr>
          <p:cNvPr id="5" name="Chart 4">
            <a:extLst>
              <a:ext uri="{FF2B5EF4-FFF2-40B4-BE49-F238E27FC236}">
                <a16:creationId xmlns:a16="http://schemas.microsoft.com/office/drawing/2014/main" id="{40B4F04F-23B8-5252-3883-3CA1F6133F86}"/>
              </a:ext>
            </a:extLst>
          </p:cNvPr>
          <p:cNvGraphicFramePr>
            <a:graphicFrameLocks noGrp="1"/>
          </p:cNvGraphicFramePr>
          <p:nvPr>
            <p:extLst>
              <p:ext uri="{D42A27DB-BD31-4B8C-83A1-F6EECF244321}">
                <p14:modId xmlns:p14="http://schemas.microsoft.com/office/powerpoint/2010/main" val="4114920936"/>
              </p:ext>
            </p:extLst>
          </p:nvPr>
        </p:nvGraphicFramePr>
        <p:xfrm>
          <a:off x="424972" y="3507452"/>
          <a:ext cx="4190048" cy="2598948"/>
        </p:xfrm>
        <a:graphic>
          <a:graphicData uri="http://schemas.openxmlformats.org/drawingml/2006/chart">
            <c:chart xmlns:c="http://schemas.openxmlformats.org/drawingml/2006/chart" xmlns:r="http://schemas.openxmlformats.org/officeDocument/2006/relationships" r:id="rId7"/>
          </a:graphicData>
        </a:graphic>
      </p:graphicFrame>
      <p:pic>
        <p:nvPicPr>
          <p:cNvPr id="8" name="Picture 7">
            <a:extLst>
              <a:ext uri="{FF2B5EF4-FFF2-40B4-BE49-F238E27FC236}">
                <a16:creationId xmlns:a16="http://schemas.microsoft.com/office/drawing/2014/main" id="{455C991D-DC08-ACAF-950E-993030CC3415}"/>
              </a:ext>
            </a:extLst>
          </p:cNvPr>
          <p:cNvPicPr>
            <a:picLocks noChangeAspect="1"/>
          </p:cNvPicPr>
          <p:nvPr/>
        </p:nvPicPr>
        <p:blipFill rotWithShape="1">
          <a:blip r:embed="rId8"/>
          <a:srcRect t="1930"/>
          <a:stretch/>
        </p:blipFill>
        <p:spPr>
          <a:xfrm>
            <a:off x="5275606" y="3371850"/>
            <a:ext cx="3619591" cy="2839792"/>
          </a:xfrm>
          <a:prstGeom prst="rect">
            <a:avLst/>
          </a:prstGeom>
        </p:spPr>
      </p:pic>
      <p:graphicFrame>
        <p:nvGraphicFramePr>
          <p:cNvPr id="4" name="Table 15">
            <a:extLst>
              <a:ext uri="{FF2B5EF4-FFF2-40B4-BE49-F238E27FC236}">
                <a16:creationId xmlns:a16="http://schemas.microsoft.com/office/drawing/2014/main" id="{178A1D3A-0C81-6545-7923-BAF14BF3E71A}"/>
              </a:ext>
            </a:extLst>
          </p:cNvPr>
          <p:cNvGraphicFramePr>
            <a:graphicFrameLocks noGrp="1"/>
          </p:cNvGraphicFramePr>
          <p:nvPr>
            <p:extLst>
              <p:ext uri="{D42A27DB-BD31-4B8C-83A1-F6EECF244321}">
                <p14:modId xmlns:p14="http://schemas.microsoft.com/office/powerpoint/2010/main" val="651658741"/>
              </p:ext>
            </p:extLst>
          </p:nvPr>
        </p:nvGraphicFramePr>
        <p:xfrm>
          <a:off x="387321" y="480293"/>
          <a:ext cx="9130616" cy="396240"/>
        </p:xfrm>
        <a:graphic>
          <a:graphicData uri="http://schemas.openxmlformats.org/drawingml/2006/table">
            <a:tbl>
              <a:tblPr firstRow="1" bandRow="1">
                <a:tableStyleId>{5C22544A-7EE6-4342-B048-85BDC9FD1C3A}</a:tableStyleId>
              </a:tblPr>
              <a:tblGrid>
                <a:gridCol w="9130616">
                  <a:extLst>
                    <a:ext uri="{9D8B030D-6E8A-4147-A177-3AD203B41FA5}">
                      <a16:colId xmlns:a16="http://schemas.microsoft.com/office/drawing/2014/main" val="1216123402"/>
                    </a:ext>
                  </a:extLst>
                </a:gridCol>
              </a:tblGrid>
              <a:tr h="370840">
                <a:tc>
                  <a:txBody>
                    <a:bodyPr/>
                    <a:lstStyle/>
                    <a:p>
                      <a:pPr marL="0" marR="0" lvl="0" indent="0" algn="l" defTabSz="895328" rtl="0" eaLnBrk="1" fontAlgn="auto" latinLnBrk="0" hangingPunct="1">
                        <a:lnSpc>
                          <a:spcPct val="100000"/>
                        </a:lnSpc>
                        <a:spcBef>
                          <a:spcPts val="0"/>
                        </a:spcBef>
                        <a:spcAft>
                          <a:spcPts val="0"/>
                        </a:spcAft>
                        <a:buClrTx/>
                        <a:buSzTx/>
                        <a:buFontTx/>
                        <a:buNone/>
                        <a:tabLst/>
                        <a:defRPr/>
                      </a:pPr>
                      <a:r>
                        <a:rPr lang="en-AU" sz="2000" b="1" kern="12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Mortgage rates have choked the economy, but a turning point is near</a:t>
                      </a:r>
                      <a:endParaRPr lang="en-AU" sz="2000" b="1" kern="120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endParaRPr>
                    </a:p>
                  </a:txBody>
                  <a:tcPr>
                    <a:lnB w="28575"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val="237313093"/>
                  </a:ext>
                </a:extLst>
              </a:tr>
            </a:tbl>
          </a:graphicData>
        </a:graphic>
      </p:graphicFrame>
    </p:spTree>
    <p:extLst>
      <p:ext uri="{BB962C8B-B14F-4D97-AF65-F5344CB8AC3E}">
        <p14:creationId xmlns:p14="http://schemas.microsoft.com/office/powerpoint/2010/main" val="240790030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7820E08-3F97-6F63-304E-1F34F020C04B}"/>
              </a:ext>
            </a:extLst>
          </p:cNvPr>
          <p:cNvSpPr>
            <a:spLocks noGrp="1"/>
          </p:cNvSpPr>
          <p:nvPr>
            <p:ph sz="quarter" idx="10"/>
          </p:nvPr>
        </p:nvSpPr>
        <p:spPr>
          <a:xfrm>
            <a:off x="469900" y="1112045"/>
            <a:ext cx="5704477" cy="4633910"/>
          </a:xfrm>
        </p:spPr>
        <p:txBody>
          <a:bodyPr/>
          <a:lstStyle/>
          <a:p>
            <a:pPr marL="285750" indent="-285750">
              <a:buFont typeface="Wingdings" panose="05000000000000000000" pitchFamily="2" charset="2"/>
              <a:buChar char="§"/>
            </a:pPr>
            <a:r>
              <a:rPr lang="en-US" sz="1400">
                <a:latin typeface="Open Sans" panose="020B0606030504020204" pitchFamily="34" charset="0"/>
                <a:ea typeface="Open Sans" panose="020B0606030504020204" pitchFamily="34" charset="0"/>
                <a:cs typeface="Open Sans" panose="020B0606030504020204" pitchFamily="34" charset="0"/>
              </a:rPr>
              <a:t>The most significant policy proposals outlined by the Trump campaign relate to higher import tariffs, corporate and personal income tax cuts, immigration, climate change and energy, and foreign policy.</a:t>
            </a:r>
          </a:p>
          <a:p>
            <a:pPr marL="285750" indent="-285750">
              <a:buFont typeface="Wingdings" panose="05000000000000000000" pitchFamily="2" charset="2"/>
              <a:buChar char="§"/>
            </a:pPr>
            <a:r>
              <a:rPr lang="en-US" sz="1400">
                <a:latin typeface="Open Sans" panose="020B0606030504020204" pitchFamily="34" charset="0"/>
                <a:ea typeface="Open Sans" panose="020B0606030504020204" pitchFamily="34" charset="0"/>
                <a:cs typeface="Open Sans" panose="020B0606030504020204" pitchFamily="34" charset="0"/>
              </a:rPr>
              <a:t>Overall, </a:t>
            </a:r>
            <a:r>
              <a:rPr lang="en-US" sz="1400" b="1">
                <a:latin typeface="Open Sans" panose="020B0606030504020204" pitchFamily="34" charset="0"/>
                <a:ea typeface="Open Sans" panose="020B0606030504020204" pitchFamily="34" charset="0"/>
                <a:cs typeface="Open Sans" panose="020B0606030504020204" pitchFamily="34" charset="0"/>
              </a:rPr>
              <a:t>growth in the US is expected to accelerate in the near term </a:t>
            </a:r>
            <a:r>
              <a:rPr lang="en-US" sz="1400">
                <a:latin typeface="Open Sans" panose="020B0606030504020204" pitchFamily="34" charset="0"/>
                <a:ea typeface="Open Sans" panose="020B0606030504020204" pitchFamily="34" charset="0"/>
                <a:cs typeface="Open Sans" panose="020B0606030504020204" pitchFamily="34" charset="0"/>
              </a:rPr>
              <a:t>due to an expected surge in consumer sentiment, tax cuts, and deregulation. However, </a:t>
            </a:r>
            <a:r>
              <a:rPr lang="en-US" sz="1400" b="1">
                <a:latin typeface="Open Sans" panose="020B0606030504020204" pitchFamily="34" charset="0"/>
                <a:ea typeface="Open Sans" panose="020B0606030504020204" pitchFamily="34" charset="0"/>
                <a:cs typeface="Open Sans" panose="020B0606030504020204" pitchFamily="34" charset="0"/>
              </a:rPr>
              <a:t>several factors are likely to slow growth in the medium to long term</a:t>
            </a:r>
            <a:r>
              <a:rPr lang="en-US" sz="1400">
                <a:latin typeface="Open Sans" panose="020B0606030504020204" pitchFamily="34" charset="0"/>
                <a:ea typeface="Open Sans" panose="020B0606030504020204" pitchFamily="34" charset="0"/>
                <a:cs typeface="Open Sans" panose="020B0606030504020204" pitchFamily="34" charset="0"/>
              </a:rPr>
              <a:t>, including higher government debt, increased trade frictions, </a:t>
            </a:r>
            <a:r>
              <a:rPr lang="en-US" sz="1400" err="1">
                <a:latin typeface="Open Sans" panose="020B0606030504020204" pitchFamily="34" charset="0"/>
                <a:ea typeface="Open Sans" panose="020B0606030504020204" pitchFamily="34" charset="0"/>
                <a:cs typeface="Open Sans" panose="020B0606030504020204" pitchFamily="34" charset="0"/>
              </a:rPr>
              <a:t>labour</a:t>
            </a:r>
            <a:r>
              <a:rPr lang="en-US" sz="1400">
                <a:latin typeface="Open Sans" panose="020B0606030504020204" pitchFamily="34" charset="0"/>
                <a:ea typeface="Open Sans" panose="020B0606030504020204" pitchFamily="34" charset="0"/>
                <a:cs typeface="Open Sans" panose="020B0606030504020204" pitchFamily="34" charset="0"/>
              </a:rPr>
              <a:t> market shortages, higher inflation and general uncertainty.</a:t>
            </a:r>
            <a:endParaRPr lang="en-AU" sz="1400" b="0" i="0" u="none" strike="noStrike" baseline="0">
              <a:solidFill>
                <a:srgbClr val="000000"/>
              </a:solidFill>
              <a:latin typeface="Open Sans" panose="020B0606030504020204" pitchFamily="34" charset="0"/>
            </a:endParaRPr>
          </a:p>
          <a:p>
            <a:pPr marL="285750" indent="-285750">
              <a:buFont typeface="Wingdings" panose="05000000000000000000" pitchFamily="2" charset="2"/>
              <a:buChar char="§"/>
            </a:pPr>
            <a:r>
              <a:rPr lang="en-US" sz="1400">
                <a:latin typeface="Open Sans" panose="020B0606030504020204" pitchFamily="34" charset="0"/>
                <a:ea typeface="Open Sans" panose="020B0606030504020204" pitchFamily="34" charset="0"/>
                <a:cs typeface="Open Sans" panose="020B0606030504020204" pitchFamily="34" charset="0"/>
              </a:rPr>
              <a:t>The implications for Australia are likely to be through </a:t>
            </a:r>
            <a:r>
              <a:rPr lang="en-US" sz="1400" b="1">
                <a:latin typeface="Open Sans" panose="020B0606030504020204" pitchFamily="34" charset="0"/>
                <a:ea typeface="Open Sans" panose="020B0606030504020204" pitchFamily="34" charset="0"/>
                <a:cs typeface="Open Sans" panose="020B0606030504020204" pitchFamily="34" charset="0"/>
              </a:rPr>
              <a:t>trade and exchange rate channels</a:t>
            </a:r>
            <a:r>
              <a:rPr lang="en-US" sz="1400">
                <a:latin typeface="Open Sans" panose="020B0606030504020204" pitchFamily="34" charset="0"/>
                <a:ea typeface="Open Sans" panose="020B0606030504020204" pitchFamily="34" charset="0"/>
                <a:cs typeface="Open Sans" panose="020B0606030504020204" pitchFamily="34" charset="0"/>
              </a:rPr>
              <a:t>.</a:t>
            </a:r>
          </a:p>
          <a:p>
            <a:pPr marL="285750" indent="-285750">
              <a:buFont typeface="Wingdings" panose="05000000000000000000" pitchFamily="2" charset="2"/>
              <a:buChar char="§"/>
            </a:pPr>
            <a:r>
              <a:rPr lang="en-US" sz="1400" b="1">
                <a:latin typeface="Open Sans" panose="020B0606030504020204" pitchFamily="34" charset="0"/>
                <a:ea typeface="Open Sans" panose="020B0606030504020204" pitchFamily="34" charset="0"/>
                <a:cs typeface="Open Sans" panose="020B0606030504020204" pitchFamily="34" charset="0"/>
              </a:rPr>
              <a:t>A structural slowdown in China could be exacerbated </a:t>
            </a:r>
            <a:r>
              <a:rPr lang="en-US" sz="1400">
                <a:latin typeface="Open Sans" panose="020B0606030504020204" pitchFamily="34" charset="0"/>
                <a:ea typeface="Open Sans" panose="020B0606030504020204" pitchFamily="34" charset="0"/>
                <a:cs typeface="Open Sans" panose="020B0606030504020204" pitchFamily="34" charset="0"/>
              </a:rPr>
              <a:t>if the US imposes a 60% tariff on all goods imported from China. Slower growth in China is likely to weigh on economic growth in Australia.</a:t>
            </a:r>
            <a:endParaRPr lang="en-AU" sz="1400">
              <a:latin typeface="Open Sans" panose="020B0606030504020204" pitchFamily="34" charset="0"/>
              <a:ea typeface="Open Sans" panose="020B0606030504020204" pitchFamily="34" charset="0"/>
              <a:cs typeface="Open Sans" panose="020B0606030504020204" pitchFamily="34" charset="0"/>
            </a:endParaRPr>
          </a:p>
          <a:p>
            <a:pPr marL="285750" indent="-285750">
              <a:buFont typeface="Wingdings" panose="05000000000000000000" pitchFamily="2" charset="2"/>
              <a:buChar char="§"/>
            </a:pPr>
            <a:r>
              <a:rPr lang="en-US" sz="1400">
                <a:latin typeface="Open Sans" panose="020B0606030504020204" pitchFamily="34" charset="0"/>
                <a:ea typeface="Open Sans" panose="020B0606030504020204" pitchFamily="34" charset="0"/>
                <a:cs typeface="Open Sans" panose="020B0606030504020204" pitchFamily="34" charset="0"/>
              </a:rPr>
              <a:t>Tariffs, expansionary fiscal policy, and deregulation will push US interest rates up and </a:t>
            </a:r>
            <a:r>
              <a:rPr lang="en-US" sz="1400" b="1">
                <a:latin typeface="Open Sans" panose="020B0606030504020204" pitchFamily="34" charset="0"/>
                <a:ea typeface="Open Sans" panose="020B0606030504020204" pitchFamily="34" charset="0"/>
                <a:cs typeface="Open Sans" panose="020B0606030504020204" pitchFamily="34" charset="0"/>
              </a:rPr>
              <a:t>strengthen the US dollar relative to the Australian dollar</a:t>
            </a:r>
            <a:r>
              <a:rPr lang="en-US" sz="1400">
                <a:latin typeface="Open Sans" panose="020B0606030504020204" pitchFamily="34" charset="0"/>
                <a:ea typeface="Open Sans" panose="020B0606030504020204" pitchFamily="34" charset="0"/>
                <a:cs typeface="Open Sans" panose="020B0606030504020204" pitchFamily="34" charset="0"/>
              </a:rPr>
              <a:t> in the short term.</a:t>
            </a:r>
          </a:p>
        </p:txBody>
      </p:sp>
      <p:pic>
        <p:nvPicPr>
          <p:cNvPr id="5" name="Picture 4" descr="A person in a suit and tie&#10;&#10;Description automatically generated">
            <a:extLst>
              <a:ext uri="{FF2B5EF4-FFF2-40B4-BE49-F238E27FC236}">
                <a16:creationId xmlns:a16="http://schemas.microsoft.com/office/drawing/2014/main" id="{3531A426-ECF1-93FD-9862-3E77A603D997}"/>
              </a:ext>
            </a:extLst>
          </p:cNvPr>
          <p:cNvPicPr>
            <a:picLocks noChangeAspect="1"/>
          </p:cNvPicPr>
          <p:nvPr/>
        </p:nvPicPr>
        <p:blipFill>
          <a:blip r:embed="rId2"/>
          <a:stretch>
            <a:fillRect/>
          </a:stretch>
        </p:blipFill>
        <p:spPr>
          <a:xfrm>
            <a:off x="6397689" y="1112045"/>
            <a:ext cx="4674637" cy="3505978"/>
          </a:xfrm>
          <a:prstGeom prst="rect">
            <a:avLst/>
          </a:prstGeom>
        </p:spPr>
      </p:pic>
      <p:graphicFrame>
        <p:nvGraphicFramePr>
          <p:cNvPr id="7" name="Table 15">
            <a:extLst>
              <a:ext uri="{FF2B5EF4-FFF2-40B4-BE49-F238E27FC236}">
                <a16:creationId xmlns:a16="http://schemas.microsoft.com/office/drawing/2014/main" id="{A78F366D-AEB7-D69E-6702-A12B1F7E82B8}"/>
              </a:ext>
            </a:extLst>
          </p:cNvPr>
          <p:cNvGraphicFramePr>
            <a:graphicFrameLocks noGrp="1"/>
          </p:cNvGraphicFramePr>
          <p:nvPr/>
        </p:nvGraphicFramePr>
        <p:xfrm>
          <a:off x="449652" y="390769"/>
          <a:ext cx="11292695" cy="396240"/>
        </p:xfrm>
        <a:graphic>
          <a:graphicData uri="http://schemas.openxmlformats.org/drawingml/2006/table">
            <a:tbl>
              <a:tblPr firstRow="1" bandRow="1">
                <a:tableStyleId>{5C22544A-7EE6-4342-B048-85BDC9FD1C3A}</a:tableStyleId>
              </a:tblPr>
              <a:tblGrid>
                <a:gridCol w="11292695">
                  <a:extLst>
                    <a:ext uri="{9D8B030D-6E8A-4147-A177-3AD203B41FA5}">
                      <a16:colId xmlns:a16="http://schemas.microsoft.com/office/drawing/2014/main" val="1216123402"/>
                    </a:ext>
                  </a:extLst>
                </a:gridCol>
              </a:tblGrid>
              <a:tr h="335318">
                <a:tc>
                  <a:txBody>
                    <a:bodyPr/>
                    <a:lstStyle/>
                    <a:p>
                      <a:pPr marL="0" marR="0" lvl="0" indent="0" algn="l" defTabSz="895328" rtl="0" eaLnBrk="1" fontAlgn="auto" latinLnBrk="0" hangingPunct="1">
                        <a:lnSpc>
                          <a:spcPct val="100000"/>
                        </a:lnSpc>
                        <a:spcBef>
                          <a:spcPts val="0"/>
                        </a:spcBef>
                        <a:spcAft>
                          <a:spcPts val="0"/>
                        </a:spcAft>
                        <a:buClrTx/>
                        <a:buSzTx/>
                        <a:buFontTx/>
                        <a:buNone/>
                        <a:tabLst/>
                        <a:defRPr/>
                      </a:pPr>
                      <a:r>
                        <a:rPr lang="en-AU" sz="2000" b="1" kern="12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Global economic and trade disruptions could get more significant</a:t>
                      </a:r>
                    </a:p>
                  </a:txBody>
                  <a:tcPr>
                    <a:lnB w="28575"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val="237313093"/>
                  </a:ext>
                </a:extLst>
              </a:tr>
            </a:tbl>
          </a:graphicData>
        </a:graphic>
      </p:graphicFrame>
      <p:sp>
        <p:nvSpPr>
          <p:cNvPr id="2" name="Title 1">
            <a:extLst>
              <a:ext uri="{FF2B5EF4-FFF2-40B4-BE49-F238E27FC236}">
                <a16:creationId xmlns:a16="http://schemas.microsoft.com/office/drawing/2014/main" id="{2CC0C32C-B4C6-1E83-5DFB-FCE95677FB90}"/>
              </a:ext>
            </a:extLst>
          </p:cNvPr>
          <p:cNvSpPr txBox="1">
            <a:spLocks/>
          </p:cNvSpPr>
          <p:nvPr/>
        </p:nvSpPr>
        <p:spPr bwMode="gray">
          <a:xfrm>
            <a:off x="424972" y="157151"/>
            <a:ext cx="11339211" cy="349686"/>
          </a:xfrm>
          <a:prstGeom prst="rect">
            <a:avLst/>
          </a:prstGeom>
        </p:spPr>
        <p:txBody>
          <a:bodyPr vert="horz" lIns="0" tIns="0" rIns="0" bIns="0" rtlCol="0" anchor="t" anchorCtr="0">
            <a:normAutofit fontScale="97500"/>
          </a:bodyPr>
          <a:lstStyle>
            <a:lvl1pPr algn="l" defTabSz="895328" rtl="0" eaLnBrk="1" latinLnBrk="0" hangingPunct="1">
              <a:spcBef>
                <a:spcPct val="0"/>
              </a:spcBef>
              <a:buNone/>
              <a:defRPr sz="1808" kern="1200">
                <a:solidFill>
                  <a:schemeClr val="tx1"/>
                </a:solidFill>
                <a:latin typeface="+mj-lt"/>
                <a:ea typeface="+mj-ea"/>
                <a:cs typeface="+mj-cs"/>
              </a:defRPr>
            </a:lvl1pPr>
          </a:lstStyle>
          <a:p>
            <a:pPr>
              <a:lnSpc>
                <a:spcPct val="120000"/>
              </a:lnSpc>
            </a:pPr>
            <a:r>
              <a:rPr lang="en-US" sz="1200" b="1" spc="600">
                <a:solidFill>
                  <a:schemeClr val="bg1">
                    <a:lumMod val="85000"/>
                  </a:schemeClr>
                </a:solidFill>
              </a:rPr>
              <a:t>GLOBAL POLITICS</a:t>
            </a:r>
          </a:p>
        </p:txBody>
      </p:sp>
    </p:spTree>
    <p:extLst>
      <p:ext uri="{BB962C8B-B14F-4D97-AF65-F5344CB8AC3E}">
        <p14:creationId xmlns:p14="http://schemas.microsoft.com/office/powerpoint/2010/main" val="261548309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40431015"/>
              </p:ext>
            </p:extLst>
          </p:nvPr>
        </p:nvGraphicFramePr>
        <p:xfrm>
          <a:off x="1265510" y="85294"/>
          <a:ext cx="1548" cy="154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p:cNvPicPr/>
                      <p:nvPr/>
                    </p:nvPicPr>
                    <p:blipFill>
                      <a:blip r:embed="rId5"/>
                      <a:stretch>
                        <a:fillRect/>
                      </a:stretch>
                    </p:blipFill>
                    <p:spPr>
                      <a:xfrm>
                        <a:off x="1265510" y="85294"/>
                        <a:ext cx="1548" cy="1548"/>
                      </a:xfrm>
                      <a:prstGeom prst="rect">
                        <a:avLst/>
                      </a:prstGeom>
                    </p:spPr>
                  </p:pic>
                </p:oleObj>
              </mc:Fallback>
            </mc:AlternateContent>
          </a:graphicData>
        </a:graphic>
      </p:graphicFrame>
      <p:sp>
        <p:nvSpPr>
          <p:cNvPr id="18" name="Content Placeholder 4">
            <a:extLst>
              <a:ext uri="{FF2B5EF4-FFF2-40B4-BE49-F238E27FC236}">
                <a16:creationId xmlns:a16="http://schemas.microsoft.com/office/drawing/2014/main" id="{0514DE97-5CF8-B92F-C959-73D2EB266DFA}"/>
              </a:ext>
            </a:extLst>
          </p:cNvPr>
          <p:cNvSpPr>
            <a:spLocks noGrp="1"/>
          </p:cNvSpPr>
          <p:nvPr>
            <p:ph sz="quarter" idx="10"/>
          </p:nvPr>
        </p:nvSpPr>
        <p:spPr>
          <a:xfrm>
            <a:off x="424972" y="1055307"/>
            <a:ext cx="11221068" cy="839673"/>
          </a:xfrm>
        </p:spPr>
        <p:txBody>
          <a:bodyPr vert="horz" lIns="0" tIns="0" rIns="0" bIns="0" numCol="1" spcCol="360000" rtlCol="0">
            <a:noAutofit/>
          </a:bodyPr>
          <a:lstStyle/>
          <a:p>
            <a:pPr marL="285750" indent="-285750">
              <a:lnSpc>
                <a:spcPct val="110000"/>
              </a:lnSpc>
              <a:spcAft>
                <a:spcPts val="850"/>
              </a:spcAft>
              <a:buFont typeface="Arial" panose="020B0604020202020204" pitchFamily="34" charset="0"/>
              <a:buChar char="•"/>
            </a:pPr>
            <a:r>
              <a:rPr lang="en-US" sz="1400" dirty="0">
                <a:latin typeface="Open Sans" panose="020B0606030504020204" pitchFamily="34" charset="0"/>
                <a:ea typeface="Open Sans" panose="020B0606030504020204" pitchFamily="34" charset="0"/>
                <a:cs typeface="Open Sans" panose="020B0606030504020204" pitchFamily="34" charset="0"/>
              </a:rPr>
              <a:t>The period between now to Christmas is still expected to be somewhat difficult for retailers, but perhaps less painful than it has been. Over time, cost of living support and moderating inflation are expected to stoke consumer spending. </a:t>
            </a:r>
          </a:p>
          <a:p>
            <a:pPr marL="285750" indent="-285750">
              <a:lnSpc>
                <a:spcPct val="110000"/>
              </a:lnSpc>
              <a:spcAft>
                <a:spcPts val="850"/>
              </a:spcAft>
              <a:buFont typeface="Arial" panose="020B0604020202020204" pitchFamily="34" charset="0"/>
              <a:buChar char="•"/>
            </a:pPr>
            <a:r>
              <a:rPr lang="en-US" sz="1400" dirty="0">
                <a:latin typeface="Open Sans" panose="020B0606030504020204" pitchFamily="34" charset="0"/>
                <a:ea typeface="Open Sans" panose="020B0606030504020204" pitchFamily="34" charset="0"/>
                <a:cs typeface="Open Sans" panose="020B0606030504020204" pitchFamily="34" charset="0"/>
              </a:rPr>
              <a:t>2025 and 2026 are expected to show further improvement and a return to more solid growth. Real retail turnover growth is predicted to </a:t>
            </a:r>
            <a:r>
              <a:rPr lang="en-US" sz="1400" b="1" dirty="0">
                <a:latin typeface="Open Sans" panose="020B0606030504020204" pitchFamily="34" charset="0"/>
                <a:ea typeface="Open Sans" panose="020B0606030504020204" pitchFamily="34" charset="0"/>
                <a:cs typeface="Open Sans" panose="020B0606030504020204" pitchFamily="34" charset="0"/>
              </a:rPr>
              <a:t>strengthen from -0.3% in 2024 to 1.5% in both 2025 and 2026.</a:t>
            </a:r>
          </a:p>
          <a:p>
            <a:pPr marL="285750" indent="-285750">
              <a:lnSpc>
                <a:spcPct val="110000"/>
              </a:lnSpc>
              <a:spcAft>
                <a:spcPts val="850"/>
              </a:spcAft>
              <a:buFont typeface="Arial" panose="020B0604020202020204" pitchFamily="34" charset="0"/>
              <a:buChar char="•"/>
            </a:pPr>
            <a:r>
              <a:rPr lang="en-US" sz="1400" b="1" dirty="0">
                <a:latin typeface="Open Sans" panose="020B0606030504020204" pitchFamily="34" charset="0"/>
                <a:ea typeface="Open Sans" panose="020B0606030504020204" pitchFamily="34" charset="0"/>
                <a:cs typeface="Open Sans" panose="020B0606030504020204" pitchFamily="34" charset="0"/>
              </a:rPr>
              <a:t>The retail sector enjoyed a strong September quarter of 2024, with real sales growing 0.5% from the previous quarter. </a:t>
            </a:r>
            <a:r>
              <a:rPr lang="en-US" sz="1400" dirty="0">
                <a:latin typeface="Open Sans" panose="020B0606030504020204" pitchFamily="34" charset="0"/>
                <a:ea typeface="Open Sans" panose="020B0606030504020204" pitchFamily="34" charset="0"/>
                <a:cs typeface="Open Sans" panose="020B0606030504020204" pitchFamily="34" charset="0"/>
              </a:rPr>
              <a:t>This was the strongest retail sales quarterly performance since June 2022.</a:t>
            </a:r>
            <a:endParaRPr lang="en-AU" sz="14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2" name="Rectangle 2">
            <a:extLst>
              <a:ext uri="{FF2B5EF4-FFF2-40B4-BE49-F238E27FC236}">
                <a16:creationId xmlns:a16="http://schemas.microsoft.com/office/drawing/2014/main" id="{50CDD747-4028-1A16-F22C-3346F8595B1E}"/>
              </a:ext>
            </a:extLst>
          </p:cNvPr>
          <p:cNvSpPr>
            <a:spLocks noChangeArrowheads="1"/>
          </p:cNvSpPr>
          <p:nvPr/>
        </p:nvSpPr>
        <p:spPr bwMode="auto">
          <a:xfrm>
            <a:off x="694781" y="2977357"/>
            <a:ext cx="4166550" cy="2539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AU" altLang="en-US" sz="1050" b="0" i="0" u="none" strike="noStrike" cap="none" normalizeH="0" baseline="0">
                <a:ln>
                  <a:noFill/>
                </a:ln>
                <a:solidFill>
                  <a:srgbClr val="75787B"/>
                </a:solidFill>
                <a:effectLst/>
                <a:latin typeface="Open Sans Light" panose="020B0306030504020204" pitchFamily="34" charset="0"/>
                <a:ea typeface="Open Sans Light" panose="020B0306030504020204" pitchFamily="34" charset="0"/>
                <a:cs typeface="Open Sans Light" panose="020B0306030504020204" pitchFamily="34" charset="0"/>
              </a:rPr>
              <a:t>Chart </a:t>
            </a:r>
            <a:r>
              <a:rPr kumimoji="0" lang="en-AU" altLang="en-US" sz="1050" b="0" i="0" u="none" strike="noStrike" cap="none" normalizeH="0" baseline="0" dirty="0">
                <a:ln>
                  <a:noFill/>
                </a:ln>
                <a:solidFill>
                  <a:srgbClr val="75787B"/>
                </a:solidFill>
                <a:effectLst/>
                <a:latin typeface="Open Sans Light" panose="020B0306030504020204" pitchFamily="34" charset="0"/>
                <a:ea typeface="Open Sans Light" panose="020B0306030504020204" pitchFamily="34" charset="0"/>
                <a:cs typeface="Open Sans Light" panose="020B0306030504020204" pitchFamily="34" charset="0"/>
              </a:rPr>
              <a:t>5</a:t>
            </a:r>
            <a:r>
              <a:rPr kumimoji="0" lang="en-AU" altLang="en-US" sz="1050" b="0" i="0" u="none" strike="noStrike" cap="none" normalizeH="0" baseline="0">
                <a:ln>
                  <a:noFill/>
                </a:ln>
                <a:solidFill>
                  <a:srgbClr val="75787B"/>
                </a:solidFill>
                <a:effectLst/>
                <a:latin typeface="Open Sans Light" panose="020B0306030504020204" pitchFamily="34" charset="0"/>
                <a:ea typeface="Open Sans Light" panose="020B0306030504020204" pitchFamily="34" charset="0"/>
                <a:cs typeface="Open Sans Light" panose="020B0306030504020204" pitchFamily="34" charset="0"/>
              </a:rPr>
              <a:t>: </a:t>
            </a:r>
            <a:r>
              <a:rPr kumimoji="0" lang="en-US" altLang="en-US" sz="1050" b="0" i="0" u="none" strike="noStrike" cap="none" normalizeH="0" baseline="0">
                <a:ln>
                  <a:noFill/>
                </a:ln>
                <a:solidFill>
                  <a:srgbClr val="75787B"/>
                </a:solidFill>
                <a:effectLst/>
                <a:latin typeface="Open Sans Light" panose="020B0306030504020204" pitchFamily="34" charset="0"/>
                <a:ea typeface="Open Sans Light" panose="020B0306030504020204" pitchFamily="34" charset="0"/>
                <a:cs typeface="Open Sans Light" panose="020B0306030504020204" pitchFamily="34" charset="0"/>
              </a:rPr>
              <a:t>Real turnover by category, 2024 and 2025</a:t>
            </a:r>
            <a:endParaRPr kumimoji="0" lang="en-AU" altLang="en-US" sz="1050" b="0" i="0" u="none" strike="noStrike" cap="none" normalizeH="0" baseline="0">
              <a:ln>
                <a:noFill/>
              </a:ln>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1" name="Rectangle 3">
            <a:extLst>
              <a:ext uri="{FF2B5EF4-FFF2-40B4-BE49-F238E27FC236}">
                <a16:creationId xmlns:a16="http://schemas.microsoft.com/office/drawing/2014/main" id="{5C9F05C7-6828-EF32-43E9-2B0412A3D651}"/>
              </a:ext>
            </a:extLst>
          </p:cNvPr>
          <p:cNvSpPr>
            <a:spLocks noChangeArrowheads="1"/>
          </p:cNvSpPr>
          <p:nvPr/>
        </p:nvSpPr>
        <p:spPr bwMode="auto">
          <a:xfrm>
            <a:off x="694780" y="6300039"/>
            <a:ext cx="2972289"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AU" altLang="en-US" sz="800" b="0" i="1" u="none" strike="noStrike" cap="none" normalizeH="0" baseline="0">
                <a:ln>
                  <a:noFill/>
                </a:ln>
                <a:solidFill>
                  <a:srgbClr val="75787B"/>
                </a:solidFill>
                <a:effectLst/>
                <a:latin typeface="+mj-lt"/>
                <a:ea typeface="Verdana" panose="020B0604030504040204" pitchFamily="34" charset="0"/>
                <a:cs typeface="Open Sans Light" panose="020B0306030504020204" pitchFamily="34" charset="0"/>
              </a:rPr>
              <a:t>Source: Deloitte Access Economics; ABS Retail Trade.</a:t>
            </a:r>
            <a:endParaRPr kumimoji="0" lang="en-AU" altLang="en-US" sz="800" b="0" i="1" u="none" strike="noStrike" cap="none" normalizeH="0" baseline="0">
              <a:ln>
                <a:noFill/>
              </a:ln>
              <a:solidFill>
                <a:schemeClr val="tx1"/>
              </a:solidFill>
              <a:effectLst/>
              <a:latin typeface="+mj-lt"/>
            </a:endParaRPr>
          </a:p>
        </p:txBody>
      </p:sp>
      <p:sp>
        <p:nvSpPr>
          <p:cNvPr id="12" name="Rectangle 5">
            <a:extLst>
              <a:ext uri="{FF2B5EF4-FFF2-40B4-BE49-F238E27FC236}">
                <a16:creationId xmlns:a16="http://schemas.microsoft.com/office/drawing/2014/main" id="{071A4E0F-6B60-699A-87E0-859E536A18AA}"/>
              </a:ext>
            </a:extLst>
          </p:cNvPr>
          <p:cNvSpPr>
            <a:spLocks noChangeArrowheads="1"/>
          </p:cNvSpPr>
          <p:nvPr/>
        </p:nvSpPr>
        <p:spPr bwMode="auto">
          <a:xfrm>
            <a:off x="6254320" y="2977357"/>
            <a:ext cx="6248219" cy="415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AU" altLang="en-US" sz="1050" b="0" i="0" u="none" strike="noStrike" cap="none" normalizeH="0" baseline="0">
                <a:ln>
                  <a:noFill/>
                </a:ln>
                <a:solidFill>
                  <a:srgbClr val="75787B"/>
                </a:solidFill>
                <a:effectLst/>
                <a:latin typeface="Open Sans Light" panose="020B0306030504020204" pitchFamily="34" charset="0"/>
                <a:ea typeface="Open Sans Light" panose="020B0306030504020204" pitchFamily="34" charset="0"/>
                <a:cs typeface="Open Sans Light" panose="020B0306030504020204" pitchFamily="34" charset="0"/>
              </a:rPr>
              <a:t>Chart </a:t>
            </a:r>
            <a:r>
              <a:rPr kumimoji="0" lang="en-AU" altLang="en-US" sz="1050" b="0" i="0" u="none" strike="noStrike" cap="none" normalizeH="0" baseline="0" dirty="0">
                <a:ln>
                  <a:noFill/>
                </a:ln>
                <a:solidFill>
                  <a:srgbClr val="75787B"/>
                </a:solidFill>
                <a:effectLst/>
                <a:latin typeface="Open Sans Light" panose="020B0306030504020204" pitchFamily="34" charset="0"/>
                <a:ea typeface="Open Sans Light" panose="020B0306030504020204" pitchFamily="34" charset="0"/>
                <a:cs typeface="Open Sans Light" panose="020B0306030504020204" pitchFamily="34" charset="0"/>
              </a:rPr>
              <a:t>6</a:t>
            </a:r>
            <a:r>
              <a:rPr kumimoji="0" lang="en-AU" altLang="en-US" sz="1050" b="0" i="0" u="none" strike="noStrike" cap="none" normalizeH="0" baseline="0">
                <a:ln>
                  <a:noFill/>
                </a:ln>
                <a:solidFill>
                  <a:srgbClr val="75787B"/>
                </a:solidFill>
                <a:effectLst/>
                <a:latin typeface="Open Sans Light" panose="020B0306030504020204" pitchFamily="34" charset="0"/>
                <a:ea typeface="Open Sans Light" panose="020B0306030504020204" pitchFamily="34" charset="0"/>
                <a:cs typeface="Open Sans Light" panose="020B0306030504020204" pitchFamily="34" charset="0"/>
              </a:rPr>
              <a:t>: </a:t>
            </a:r>
            <a:r>
              <a:rPr kumimoji="0" lang="en-US" altLang="en-US" sz="1050" b="0" i="0" u="none" strike="noStrike" cap="none" normalizeH="0" baseline="0">
                <a:ln>
                  <a:noFill/>
                </a:ln>
                <a:solidFill>
                  <a:srgbClr val="75787B"/>
                </a:solidFill>
                <a:effectLst/>
                <a:latin typeface="Open Sans Light" panose="020B0306030504020204" pitchFamily="34" charset="0"/>
                <a:ea typeface="Open Sans Light" panose="020B0306030504020204" pitchFamily="34" charset="0"/>
                <a:cs typeface="Open Sans Light" panose="020B0306030504020204" pitchFamily="34" charset="0"/>
              </a:rPr>
              <a:t>National real and nominal retail turnover</a:t>
            </a:r>
            <a:endParaRPr kumimoji="0" lang="en-AU" altLang="en-US" sz="1050" b="0" i="0" u="none" strike="noStrike" cap="none" normalizeH="0" baseline="0">
              <a:ln>
                <a:noFill/>
              </a:ln>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AU" altLang="en-US" sz="1050" b="0" i="0" u="none" strike="noStrike" cap="none" normalizeH="0" baseline="0">
              <a:ln>
                <a:noFill/>
              </a:ln>
              <a:solidFill>
                <a:schemeClr val="tx1"/>
              </a:solidFill>
              <a:effectLst/>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4" name="Rectangle 6">
            <a:extLst>
              <a:ext uri="{FF2B5EF4-FFF2-40B4-BE49-F238E27FC236}">
                <a16:creationId xmlns:a16="http://schemas.microsoft.com/office/drawing/2014/main" id="{041867B5-362E-8FB3-05DD-2AE753EF61A5}"/>
              </a:ext>
            </a:extLst>
          </p:cNvPr>
          <p:cNvSpPr>
            <a:spLocks noChangeArrowheads="1"/>
          </p:cNvSpPr>
          <p:nvPr/>
        </p:nvSpPr>
        <p:spPr bwMode="auto">
          <a:xfrm>
            <a:off x="6340540" y="6300039"/>
            <a:ext cx="54864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AU" altLang="en-US" sz="800" b="0" i="1" u="none" strike="noStrike" cap="none" normalizeH="0" baseline="0">
                <a:ln>
                  <a:noFill/>
                </a:ln>
                <a:solidFill>
                  <a:srgbClr val="75787B"/>
                </a:solidFill>
                <a:effectLst/>
                <a:latin typeface="+mj-lt"/>
                <a:ea typeface="Verdana" panose="020B0604030504040204" pitchFamily="34" charset="0"/>
                <a:cs typeface="Open Sans Light" panose="020B0306030504020204" pitchFamily="34" charset="0"/>
              </a:rPr>
              <a:t>Source: Deloitte Access Economics; ABS Retail Trade.</a:t>
            </a:r>
            <a:endParaRPr kumimoji="0" lang="en-AU" altLang="en-US" sz="800" b="0" i="1" u="none" strike="noStrike" cap="none" normalizeH="0" baseline="0">
              <a:ln>
                <a:noFill/>
              </a:ln>
              <a:solidFill>
                <a:schemeClr val="tx1"/>
              </a:solidFill>
              <a:effectLst/>
              <a:latin typeface="+mj-lt"/>
            </a:endParaRPr>
          </a:p>
        </p:txBody>
      </p:sp>
      <p:sp>
        <p:nvSpPr>
          <p:cNvPr id="16" name="Title 1">
            <a:extLst>
              <a:ext uri="{FF2B5EF4-FFF2-40B4-BE49-F238E27FC236}">
                <a16:creationId xmlns:a16="http://schemas.microsoft.com/office/drawing/2014/main" id="{CEFB78DC-422C-5762-E096-CDFD4C5784BC}"/>
              </a:ext>
            </a:extLst>
          </p:cNvPr>
          <p:cNvSpPr txBox="1">
            <a:spLocks/>
          </p:cNvSpPr>
          <p:nvPr/>
        </p:nvSpPr>
        <p:spPr bwMode="gray">
          <a:xfrm>
            <a:off x="424972" y="157151"/>
            <a:ext cx="11339211" cy="349686"/>
          </a:xfrm>
          <a:prstGeom prst="rect">
            <a:avLst/>
          </a:prstGeom>
        </p:spPr>
        <p:txBody>
          <a:bodyPr vert="horz" lIns="0" tIns="0" rIns="0" bIns="0" rtlCol="0" anchor="t" anchorCtr="0">
            <a:normAutofit fontScale="97500"/>
          </a:bodyPr>
          <a:lstStyle>
            <a:lvl1pPr algn="l" defTabSz="895328" rtl="0" eaLnBrk="1" latinLnBrk="0" hangingPunct="1">
              <a:spcBef>
                <a:spcPct val="0"/>
              </a:spcBef>
              <a:buNone/>
              <a:defRPr sz="1808" kern="1200">
                <a:solidFill>
                  <a:schemeClr val="tx1"/>
                </a:solidFill>
                <a:latin typeface="+mj-lt"/>
                <a:ea typeface="+mj-ea"/>
                <a:cs typeface="+mj-cs"/>
              </a:defRPr>
            </a:lvl1pPr>
          </a:lstStyle>
          <a:p>
            <a:pPr>
              <a:lnSpc>
                <a:spcPct val="120000"/>
              </a:lnSpc>
            </a:pPr>
            <a:r>
              <a:rPr lang="en-AU" sz="1100" b="1" spc="600">
                <a:solidFill>
                  <a:schemeClr val="bg1">
                    <a:lumMod val="85000"/>
                  </a:schemeClr>
                </a:solidFill>
              </a:rPr>
              <a:t>RETAIL</a:t>
            </a:r>
            <a:endParaRPr lang="en-US" sz="700" b="1" spc="600">
              <a:solidFill>
                <a:schemeClr val="bg1">
                  <a:lumMod val="85000"/>
                </a:schemeClr>
              </a:solidFill>
            </a:endParaRPr>
          </a:p>
        </p:txBody>
      </p:sp>
      <p:graphicFrame>
        <p:nvGraphicFramePr>
          <p:cNvPr id="19" name="Table 15">
            <a:extLst>
              <a:ext uri="{FF2B5EF4-FFF2-40B4-BE49-F238E27FC236}">
                <a16:creationId xmlns:a16="http://schemas.microsoft.com/office/drawing/2014/main" id="{AEC614CB-6A5E-DF44-4DCD-ECF3AA9FFF95}"/>
              </a:ext>
            </a:extLst>
          </p:cNvPr>
          <p:cNvGraphicFramePr>
            <a:graphicFrameLocks noGrp="1"/>
          </p:cNvGraphicFramePr>
          <p:nvPr>
            <p:extLst>
              <p:ext uri="{D42A27DB-BD31-4B8C-83A1-F6EECF244321}">
                <p14:modId xmlns:p14="http://schemas.microsoft.com/office/powerpoint/2010/main" val="775687545"/>
              </p:ext>
            </p:extLst>
          </p:nvPr>
        </p:nvGraphicFramePr>
        <p:xfrm>
          <a:off x="424972" y="443339"/>
          <a:ext cx="11292695" cy="396240"/>
        </p:xfrm>
        <a:graphic>
          <a:graphicData uri="http://schemas.openxmlformats.org/drawingml/2006/table">
            <a:tbl>
              <a:tblPr firstRow="1" bandRow="1">
                <a:tableStyleId>{5C22544A-7EE6-4342-B048-85BDC9FD1C3A}</a:tableStyleId>
              </a:tblPr>
              <a:tblGrid>
                <a:gridCol w="11292695">
                  <a:extLst>
                    <a:ext uri="{9D8B030D-6E8A-4147-A177-3AD203B41FA5}">
                      <a16:colId xmlns:a16="http://schemas.microsoft.com/office/drawing/2014/main" val="1216123402"/>
                    </a:ext>
                  </a:extLst>
                </a:gridCol>
              </a:tblGrid>
              <a:tr h="349686">
                <a:tc>
                  <a:txBody>
                    <a:bodyPr/>
                    <a:lstStyle/>
                    <a:p>
                      <a:pPr marL="0" marR="0" lvl="0" indent="0" algn="l" defTabSz="895328" rtl="0" eaLnBrk="1" fontAlgn="auto" latinLnBrk="0" hangingPunct="1">
                        <a:lnSpc>
                          <a:spcPct val="100000"/>
                        </a:lnSpc>
                        <a:spcBef>
                          <a:spcPts val="0"/>
                        </a:spcBef>
                        <a:spcAft>
                          <a:spcPts val="0"/>
                        </a:spcAft>
                        <a:buClrTx/>
                        <a:buSzTx/>
                        <a:buFontTx/>
                        <a:buNone/>
                        <a:tabLst/>
                        <a:defRPr/>
                      </a:pPr>
                      <a:r>
                        <a:rPr lang="en-US" sz="2000" b="1" kern="1200">
                          <a:solidFill>
                            <a:schemeClr val="bg1">
                              <a:lumMod val="50000"/>
                            </a:schemeClr>
                          </a:solidFill>
                          <a:effectLst/>
                          <a:latin typeface="Open Sans" panose="020B0606030504020204" pitchFamily="34" charset="0"/>
                          <a:ea typeface="Open Sans" panose="020B0606030504020204" pitchFamily="34" charset="0"/>
                          <a:cs typeface="Open Sans" panose="020B0606030504020204" pitchFamily="34" charset="0"/>
                        </a:rPr>
                        <a:t>The path to better retail sales is underway, but may not be apparent until 2025</a:t>
                      </a:r>
                      <a:endParaRPr lang="en-AU" sz="2000" b="1" kern="1200" dirty="0">
                        <a:solidFill>
                          <a:schemeClr val="bg1">
                            <a:lumMod val="50000"/>
                          </a:schemeClr>
                        </a:solidFill>
                        <a:effectLst/>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a:lnB w="28575"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val="237313093"/>
                  </a:ext>
                </a:extLst>
              </a:tr>
            </a:tbl>
          </a:graphicData>
        </a:graphic>
      </p:graphicFrame>
      <p:graphicFrame>
        <p:nvGraphicFramePr>
          <p:cNvPr id="6" name="Chart 5">
            <a:extLst>
              <a:ext uri="{FF2B5EF4-FFF2-40B4-BE49-F238E27FC236}">
                <a16:creationId xmlns:a16="http://schemas.microsoft.com/office/drawing/2014/main" id="{00000000-0008-0000-0B00-000014000000}"/>
              </a:ext>
            </a:extLst>
          </p:cNvPr>
          <p:cNvGraphicFramePr>
            <a:graphicFrameLocks/>
          </p:cNvGraphicFramePr>
          <p:nvPr>
            <p:extLst>
              <p:ext uri="{D42A27DB-BD31-4B8C-83A1-F6EECF244321}">
                <p14:modId xmlns:p14="http://schemas.microsoft.com/office/powerpoint/2010/main" val="2736090350"/>
              </p:ext>
            </p:extLst>
          </p:nvPr>
        </p:nvGraphicFramePr>
        <p:xfrm>
          <a:off x="694780" y="3248026"/>
          <a:ext cx="4569369" cy="305201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Chart 7">
            <a:extLst>
              <a:ext uri="{FF2B5EF4-FFF2-40B4-BE49-F238E27FC236}">
                <a16:creationId xmlns:a16="http://schemas.microsoft.com/office/drawing/2014/main" id="{00000000-0008-0000-0800-000002000000}"/>
              </a:ext>
            </a:extLst>
          </p:cNvPr>
          <p:cNvGraphicFramePr>
            <a:graphicFrameLocks noGrp="1"/>
          </p:cNvGraphicFramePr>
          <p:nvPr>
            <p:extLst>
              <p:ext uri="{D42A27DB-BD31-4B8C-83A1-F6EECF244321}">
                <p14:modId xmlns:p14="http://schemas.microsoft.com/office/powerpoint/2010/main" val="3307478572"/>
              </p:ext>
            </p:extLst>
          </p:nvPr>
        </p:nvGraphicFramePr>
        <p:xfrm>
          <a:off x="6340540" y="3248026"/>
          <a:ext cx="5123127" cy="3052012"/>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2994439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4">
            <a:extLst>
              <a:ext uri="{FF2B5EF4-FFF2-40B4-BE49-F238E27FC236}">
                <a16:creationId xmlns:a16="http://schemas.microsoft.com/office/drawing/2014/main" id="{B73CB31B-5488-48A9-5392-47D154109794}"/>
              </a:ext>
            </a:extLst>
          </p:cNvPr>
          <p:cNvSpPr txBox="1">
            <a:spLocks/>
          </p:cNvSpPr>
          <p:nvPr/>
        </p:nvSpPr>
        <p:spPr>
          <a:xfrm>
            <a:off x="386760" y="974442"/>
            <a:ext cx="11292694" cy="1270552"/>
          </a:xfrm>
          <a:prstGeom prst="rect">
            <a:avLst/>
          </a:prstGeom>
        </p:spPr>
        <p:txBody>
          <a:bodyPr vert="horz" lIns="0" tIns="0" rIns="0" bIns="0" numCol="1" spcCol="360000" rtlCol="0">
            <a:noAutofit/>
          </a:bodyPr>
          <a:lstStyle>
            <a:lvl1pPr marL="0" indent="0" algn="l" defTabSz="895328" rtl="0" eaLnBrk="1" latinLnBrk="0" hangingPunct="1">
              <a:spcBef>
                <a:spcPts val="0"/>
              </a:spcBef>
              <a:spcAft>
                <a:spcPts val="978"/>
              </a:spcAft>
              <a:buSzPct val="100000"/>
              <a:buFont typeface="Arial" panose="020B0604020202020204" pitchFamily="34" charset="0"/>
              <a:buChar char="​"/>
              <a:tabLst>
                <a:tab pos="4924300" algn="r"/>
              </a:tabLst>
              <a:defRPr sz="905" b="0" kern="1200">
                <a:solidFill>
                  <a:schemeClr val="tx1"/>
                </a:solidFill>
                <a:latin typeface="+mn-lt"/>
                <a:ea typeface="+mn-ea"/>
                <a:cs typeface="+mn-cs"/>
              </a:defRPr>
            </a:lvl1pPr>
            <a:lvl2pPr marL="0" indent="0" algn="l" defTabSz="895328" rtl="0" eaLnBrk="1" latinLnBrk="0" hangingPunct="1">
              <a:spcBef>
                <a:spcPts val="0"/>
              </a:spcBef>
              <a:spcAft>
                <a:spcPts val="978"/>
              </a:spcAft>
              <a:buClrTx/>
              <a:buSzPct val="100000"/>
              <a:buFont typeface="Arial" panose="020B0604020202020204" pitchFamily="34" charset="0"/>
              <a:buChar char="​"/>
              <a:tabLst>
                <a:tab pos="4924300" algn="r"/>
              </a:tabLst>
              <a:defRPr lang="en-US" sz="905" b="1" kern="1200">
                <a:solidFill>
                  <a:schemeClr val="tx1"/>
                </a:solidFill>
                <a:latin typeface="+mn-lt"/>
                <a:ea typeface="+mn-ea"/>
                <a:cs typeface="+mn-cs"/>
              </a:defRPr>
            </a:lvl2pPr>
            <a:lvl3pPr marL="172720" indent="-172720" algn="l" defTabSz="895328" rtl="0" eaLnBrk="1" latinLnBrk="0" hangingPunct="1">
              <a:spcBef>
                <a:spcPts val="0"/>
              </a:spcBef>
              <a:spcAft>
                <a:spcPts val="978"/>
              </a:spcAft>
              <a:buClrTx/>
              <a:buSzPct val="100000"/>
              <a:buFont typeface="Arial" panose="020B0604020202020204" pitchFamily="34" charset="0"/>
              <a:buChar char="•"/>
              <a:tabLst>
                <a:tab pos="4924300" algn="r"/>
              </a:tabLst>
              <a:defRPr lang="en-US" sz="905" kern="1200">
                <a:solidFill>
                  <a:schemeClr val="tx1"/>
                </a:solidFill>
                <a:latin typeface="+mn-lt"/>
                <a:ea typeface="+mn-ea"/>
                <a:cs typeface="+mn-cs"/>
              </a:defRPr>
            </a:lvl3pPr>
            <a:lvl4pPr marL="348965" indent="-172720" algn="l" defTabSz="895328" rtl="0" eaLnBrk="1" latinLnBrk="0" hangingPunct="1">
              <a:spcBef>
                <a:spcPts val="0"/>
              </a:spcBef>
              <a:spcAft>
                <a:spcPts val="978"/>
              </a:spcAft>
              <a:buClrTx/>
              <a:buSzPct val="100000"/>
              <a:buFont typeface="Verdana" panose="020B0604030504040204" pitchFamily="34" charset="0"/>
              <a:buChar char="−"/>
              <a:tabLst>
                <a:tab pos="4924300" algn="r"/>
              </a:tabLst>
              <a:defRPr lang="en-US" sz="905" kern="1200" baseline="0">
                <a:solidFill>
                  <a:schemeClr val="tx1"/>
                </a:solidFill>
                <a:latin typeface="+mn-lt"/>
                <a:ea typeface="+mn-ea"/>
                <a:cs typeface="+mn-cs"/>
              </a:defRPr>
            </a:lvl4pPr>
            <a:lvl5pPr marL="521686" indent="-172720" algn="l" defTabSz="781858" rtl="0" eaLnBrk="1" latinLnBrk="0" hangingPunct="1">
              <a:spcBef>
                <a:spcPts val="0"/>
              </a:spcBef>
              <a:spcAft>
                <a:spcPts val="978"/>
              </a:spcAft>
              <a:buClrTx/>
              <a:buSzPct val="100000"/>
              <a:buFont typeface="Verdana" panose="020B0604030504040204" pitchFamily="34" charset="0"/>
              <a:buChar char="−"/>
              <a:tabLst>
                <a:tab pos="4924300" algn="r"/>
              </a:tabLst>
              <a:defRPr lang="en-US" sz="905" kern="1200" baseline="0">
                <a:solidFill>
                  <a:schemeClr val="tx1"/>
                </a:solidFill>
                <a:latin typeface="+mn-lt"/>
                <a:ea typeface="+mn-ea"/>
                <a:cs typeface="+mn-cs"/>
              </a:defRPr>
            </a:lvl5pPr>
            <a:lvl6pPr marL="521686" indent="-172720" algn="l" defTabSz="895328" rtl="0" eaLnBrk="1" latinLnBrk="0" hangingPunct="1">
              <a:spcBef>
                <a:spcPts val="0"/>
              </a:spcBef>
              <a:spcAft>
                <a:spcPts val="978"/>
              </a:spcAft>
              <a:buFont typeface="Verdana" panose="020B0604030504040204" pitchFamily="34" charset="0"/>
              <a:buChar char="−"/>
              <a:defRPr sz="905" kern="1200" baseline="0">
                <a:solidFill>
                  <a:schemeClr val="tx1"/>
                </a:solidFill>
                <a:latin typeface="+mn-lt"/>
                <a:ea typeface="+mn-ea"/>
                <a:cs typeface="+mn-cs"/>
              </a:defRPr>
            </a:lvl6pPr>
            <a:lvl7pPr marL="521686" indent="-172720" algn="l" defTabSz="895328" rtl="0" eaLnBrk="1" latinLnBrk="0" hangingPunct="1">
              <a:spcBef>
                <a:spcPts val="0"/>
              </a:spcBef>
              <a:spcAft>
                <a:spcPts val="978"/>
              </a:spcAft>
              <a:buFont typeface="Verdana" panose="020B0604030504040204" pitchFamily="34" charset="0"/>
              <a:buChar char="−"/>
              <a:defRPr sz="905" kern="1200">
                <a:solidFill>
                  <a:schemeClr val="tx1"/>
                </a:solidFill>
                <a:latin typeface="+mn-lt"/>
                <a:ea typeface="+mn-ea"/>
                <a:cs typeface="+mn-cs"/>
              </a:defRPr>
            </a:lvl7pPr>
            <a:lvl8pPr marL="521686" indent="-172720" algn="l" defTabSz="895328" rtl="0" eaLnBrk="1" latinLnBrk="0" hangingPunct="1">
              <a:spcBef>
                <a:spcPts val="0"/>
              </a:spcBef>
              <a:spcAft>
                <a:spcPts val="978"/>
              </a:spcAft>
              <a:buFont typeface="Verdana" panose="020B0604030504040204" pitchFamily="34" charset="0"/>
              <a:buChar char="−"/>
              <a:defRPr sz="905" kern="1200" baseline="0">
                <a:solidFill>
                  <a:schemeClr val="tx1"/>
                </a:solidFill>
                <a:latin typeface="+mn-lt"/>
                <a:ea typeface="+mn-ea"/>
                <a:cs typeface="+mn-cs"/>
              </a:defRPr>
            </a:lvl8pPr>
            <a:lvl9pPr marL="521686" indent="-172720" algn="l" defTabSz="895328" rtl="0" eaLnBrk="1" latinLnBrk="0" hangingPunct="1">
              <a:spcBef>
                <a:spcPts val="0"/>
              </a:spcBef>
              <a:spcAft>
                <a:spcPts val="978"/>
              </a:spcAft>
              <a:buFont typeface="Verdana" panose="020B0604030504040204" pitchFamily="34" charset="0"/>
              <a:buChar char="−"/>
              <a:defRPr sz="905" kern="1200" baseline="0">
                <a:solidFill>
                  <a:schemeClr val="tx1"/>
                </a:solidFill>
                <a:latin typeface="+mn-lt"/>
                <a:ea typeface="+mn-ea"/>
                <a:cs typeface="+mn-cs"/>
              </a:defRPr>
            </a:lvl9pPr>
          </a:lstStyle>
          <a:p>
            <a:pPr marL="285750" indent="-285750">
              <a:lnSpc>
                <a:spcPct val="110000"/>
              </a:lnSpc>
              <a:spcAft>
                <a:spcPts val="1200"/>
              </a:spcAft>
              <a:buFont typeface="Arial" panose="020B0604020202020204" pitchFamily="34" charset="0"/>
              <a:buChar char="•"/>
            </a:pPr>
            <a:r>
              <a:rPr lang="en-AU" sz="1400" dirty="0">
                <a:effectLst/>
                <a:latin typeface="Open Sans" panose="020B0606030504020204" pitchFamily="34" charset="0"/>
                <a:ea typeface="Open Sans" panose="020B0606030504020204" pitchFamily="34" charset="0"/>
                <a:cs typeface="Open Sans" panose="020B0606030504020204" pitchFamily="34" charset="0"/>
              </a:rPr>
              <a:t>Deloitte’s Consumer Signals’ Financial Wellbeing Index shows financial wellbeing in the United Kingdom, United States and globally have been on an upward trajectory over the past year, while </a:t>
            </a:r>
            <a:r>
              <a:rPr lang="en-AU" sz="1400" b="1" dirty="0">
                <a:effectLst/>
                <a:latin typeface="Open Sans" panose="020B0606030504020204" pitchFamily="34" charset="0"/>
                <a:ea typeface="Open Sans" panose="020B0606030504020204" pitchFamily="34" charset="0"/>
                <a:cs typeface="Open Sans" panose="020B0606030504020204" pitchFamily="34" charset="0"/>
              </a:rPr>
              <a:t>Australia has stayed consistently pessimistic.</a:t>
            </a:r>
          </a:p>
          <a:p>
            <a:pPr marL="285750" indent="-285750">
              <a:lnSpc>
                <a:spcPct val="110000"/>
              </a:lnSpc>
              <a:spcAft>
                <a:spcPts val="1200"/>
              </a:spcAft>
              <a:buFont typeface="Arial" panose="020B0604020202020204" pitchFamily="34" charset="0"/>
              <a:buChar char="•"/>
            </a:pPr>
            <a:r>
              <a:rPr lang="en-AU" sz="1400" dirty="0">
                <a:effectLst/>
                <a:latin typeface="Open Sans" panose="020B0606030504020204" pitchFamily="34" charset="0"/>
                <a:ea typeface="Open Sans" panose="020B0606030504020204" pitchFamily="34" charset="0"/>
                <a:cs typeface="Open Sans" panose="020B0606030504020204" pitchFamily="34" charset="0"/>
              </a:rPr>
              <a:t>This shines through sub-indexes in which a higher proportion of Australians are concerned about their savings (50%) and are delaying large purchases (50%). However, a </a:t>
            </a:r>
            <a:r>
              <a:rPr lang="en-AU" sz="1400" dirty="0">
                <a:latin typeface="Open Sans" panose="020B0606030504020204" pitchFamily="34" charset="0"/>
                <a:ea typeface="Open Sans" panose="020B0606030504020204" pitchFamily="34" charset="0"/>
                <a:cs typeface="Open Sans" panose="020B0606030504020204" pitchFamily="34" charset="0"/>
              </a:rPr>
              <a:t>higher proportion are expecting their financial situation to improve within the next year (29%), indicating that financial wellbeing may improve into 2025. </a:t>
            </a:r>
            <a:endParaRPr lang="en-AU" sz="1400" dirty="0">
              <a:effectLst/>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9" name="Table 15">
            <a:extLst>
              <a:ext uri="{FF2B5EF4-FFF2-40B4-BE49-F238E27FC236}">
                <a16:creationId xmlns:a16="http://schemas.microsoft.com/office/drawing/2014/main" id="{62A33060-E1F6-3B21-0786-51A8B788B3AE}"/>
              </a:ext>
            </a:extLst>
          </p:cNvPr>
          <p:cNvGraphicFramePr>
            <a:graphicFrameLocks noGrp="1"/>
          </p:cNvGraphicFramePr>
          <p:nvPr>
            <p:extLst>
              <p:ext uri="{D42A27DB-BD31-4B8C-83A1-F6EECF244321}">
                <p14:modId xmlns:p14="http://schemas.microsoft.com/office/powerpoint/2010/main" val="2195762548"/>
              </p:ext>
            </p:extLst>
          </p:nvPr>
        </p:nvGraphicFramePr>
        <p:xfrm>
          <a:off x="387320" y="480293"/>
          <a:ext cx="11417359" cy="396240"/>
        </p:xfrm>
        <a:graphic>
          <a:graphicData uri="http://schemas.openxmlformats.org/drawingml/2006/table">
            <a:tbl>
              <a:tblPr firstRow="1" bandRow="1">
                <a:tableStyleId>{5C22544A-7EE6-4342-B048-85BDC9FD1C3A}</a:tableStyleId>
              </a:tblPr>
              <a:tblGrid>
                <a:gridCol w="11417359">
                  <a:extLst>
                    <a:ext uri="{9D8B030D-6E8A-4147-A177-3AD203B41FA5}">
                      <a16:colId xmlns:a16="http://schemas.microsoft.com/office/drawing/2014/main" val="1216123402"/>
                    </a:ext>
                  </a:extLst>
                </a:gridCol>
              </a:tblGrid>
              <a:tr h="370840">
                <a:tc>
                  <a:txBody>
                    <a:bodyPr/>
                    <a:lstStyle/>
                    <a:p>
                      <a:r>
                        <a:rPr lang="en-AU" sz="2000">
                          <a:solidFill>
                            <a:schemeClr val="accent6"/>
                          </a:solidFill>
                          <a:latin typeface="Open Sans" panose="020B0606030504020204" pitchFamily="34" charset="0"/>
                          <a:ea typeface="Open Sans" panose="020B0606030504020204" pitchFamily="34" charset="0"/>
                          <a:cs typeface="Open Sans" panose="020B0606030504020204" pitchFamily="34" charset="0"/>
                        </a:rPr>
                        <a:t>Australians’ financial wellbeing is lagging that of other developed nations</a:t>
                      </a:r>
                      <a:endParaRPr lang="en-AU" sz="2000" dirty="0">
                        <a:solidFill>
                          <a:schemeClr val="accent6"/>
                        </a:solidFill>
                        <a:latin typeface="Open Sans" panose="020B0606030504020204" pitchFamily="34" charset="0"/>
                        <a:ea typeface="Open Sans" panose="020B0606030504020204" pitchFamily="34" charset="0"/>
                        <a:cs typeface="Open Sans" panose="020B0606030504020204" pitchFamily="34" charset="0"/>
                      </a:endParaRPr>
                    </a:p>
                  </a:txBody>
                  <a:tcPr>
                    <a:lnB w="28575"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val="237313093"/>
                  </a:ext>
                </a:extLst>
              </a:tr>
            </a:tbl>
          </a:graphicData>
        </a:graphic>
      </p:graphicFrame>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533267657"/>
              </p:ext>
            </p:extLst>
          </p:nvPr>
        </p:nvGraphicFramePr>
        <p:xfrm>
          <a:off x="1265510" y="85294"/>
          <a:ext cx="1548" cy="154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p:cNvPicPr/>
                      <p:nvPr/>
                    </p:nvPicPr>
                    <p:blipFill>
                      <a:blip r:embed="rId5"/>
                      <a:stretch>
                        <a:fillRect/>
                      </a:stretch>
                    </p:blipFill>
                    <p:spPr>
                      <a:xfrm>
                        <a:off x="1265510" y="85294"/>
                        <a:ext cx="1548" cy="1548"/>
                      </a:xfrm>
                      <a:prstGeom prst="rect">
                        <a:avLst/>
                      </a:prstGeom>
                    </p:spPr>
                  </p:pic>
                </p:oleObj>
              </mc:Fallback>
            </mc:AlternateContent>
          </a:graphicData>
        </a:graphic>
      </p:graphicFrame>
      <p:sp>
        <p:nvSpPr>
          <p:cNvPr id="11" name="Text Placeholder 2">
            <a:extLst>
              <a:ext uri="{FF2B5EF4-FFF2-40B4-BE49-F238E27FC236}">
                <a16:creationId xmlns:a16="http://schemas.microsoft.com/office/drawing/2014/main" id="{C8536D56-856D-40E9-ABB7-6CA21C7F0451}"/>
              </a:ext>
            </a:extLst>
          </p:cNvPr>
          <p:cNvSpPr txBox="1">
            <a:spLocks/>
          </p:cNvSpPr>
          <p:nvPr/>
        </p:nvSpPr>
        <p:spPr>
          <a:xfrm>
            <a:off x="3384115" y="2595317"/>
            <a:ext cx="5754648" cy="343745"/>
          </a:xfrm>
          <a:prstGeom prst="rect">
            <a:avLst/>
          </a:prstGeom>
        </p:spPr>
        <p:txBody>
          <a:bodyPr vert="horz" lIns="0" tIns="0" rIns="0" bIns="0" rtlCol="0">
            <a:noAutofit/>
          </a:bodyPr>
          <a:lstStyle>
            <a:lvl1pPr marL="0" indent="0" algn="l" defTabSz="1219170" rtl="0" eaLnBrk="1" latinLnBrk="0" hangingPunct="1">
              <a:spcBef>
                <a:spcPts val="0"/>
              </a:spcBef>
              <a:spcAft>
                <a:spcPts val="1000"/>
              </a:spcAft>
              <a:buClrTx/>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kumimoji="0" lang="en-AU" altLang="en-US" sz="1050" b="0" i="0" u="none" strike="noStrike" cap="none" normalizeH="0" baseline="0">
                <a:ln>
                  <a:noFill/>
                </a:ln>
                <a:solidFill>
                  <a:srgbClr val="75787B"/>
                </a:solidFill>
                <a:effectLst/>
                <a:latin typeface="+mj-lt"/>
                <a:ea typeface="Verdana" panose="020B0604030504040204" pitchFamily="34" charset="0"/>
                <a:cs typeface="Open Sans Light" panose="020B0306030504020204" pitchFamily="34" charset="0"/>
              </a:rPr>
              <a:t>Chart </a:t>
            </a:r>
            <a:r>
              <a:rPr lang="en-AU" altLang="en-US" sz="1050" dirty="0">
                <a:solidFill>
                  <a:srgbClr val="75787B"/>
                </a:solidFill>
                <a:latin typeface="+mj-lt"/>
                <a:ea typeface="Verdana" panose="020B0604030504040204" pitchFamily="34" charset="0"/>
                <a:cs typeface="Open Sans Light" panose="020B0306030504020204" pitchFamily="34" charset="0"/>
              </a:rPr>
              <a:t>7</a:t>
            </a:r>
            <a:r>
              <a:rPr kumimoji="0" lang="en-AU" altLang="en-US" sz="1050" b="0" i="0" u="none" strike="noStrike" cap="none" normalizeH="0" baseline="0">
                <a:ln>
                  <a:noFill/>
                </a:ln>
                <a:solidFill>
                  <a:srgbClr val="75787B"/>
                </a:solidFill>
                <a:effectLst/>
                <a:latin typeface="+mj-lt"/>
                <a:ea typeface="Verdana" panose="020B0604030504040204" pitchFamily="34" charset="0"/>
                <a:cs typeface="Open Sans Light" panose="020B0306030504020204" pitchFamily="34" charset="0"/>
              </a:rPr>
              <a:t>: </a:t>
            </a:r>
            <a:r>
              <a:rPr lang="en-AU" sz="1050">
                <a:solidFill>
                  <a:srgbClr val="75787B"/>
                </a:solidFill>
                <a:latin typeface="+mj-lt"/>
                <a:ea typeface="Verdana" panose="020B0604030504040204" pitchFamily="34" charset="0"/>
                <a:cs typeface="Open Sans Light" panose="020B0306030504020204" pitchFamily="34" charset="0"/>
              </a:rPr>
              <a:t>Financial Wellbeing Index (indexed to April 2020)</a:t>
            </a:r>
          </a:p>
        </p:txBody>
      </p:sp>
      <p:sp>
        <p:nvSpPr>
          <p:cNvPr id="7" name="Title 1">
            <a:extLst>
              <a:ext uri="{FF2B5EF4-FFF2-40B4-BE49-F238E27FC236}">
                <a16:creationId xmlns:a16="http://schemas.microsoft.com/office/drawing/2014/main" id="{BA601759-6035-F88B-15E0-92DF2ABBFF50}"/>
              </a:ext>
            </a:extLst>
          </p:cNvPr>
          <p:cNvSpPr txBox="1">
            <a:spLocks/>
          </p:cNvSpPr>
          <p:nvPr/>
        </p:nvSpPr>
        <p:spPr bwMode="gray">
          <a:xfrm>
            <a:off x="424972" y="157151"/>
            <a:ext cx="11339211" cy="349686"/>
          </a:xfrm>
          <a:prstGeom prst="rect">
            <a:avLst/>
          </a:prstGeom>
        </p:spPr>
        <p:txBody>
          <a:bodyPr vert="horz" lIns="0" tIns="0" rIns="0" bIns="0" rtlCol="0" anchor="t" anchorCtr="0">
            <a:normAutofit fontScale="97500"/>
          </a:bodyPr>
          <a:lstStyle>
            <a:lvl1pPr algn="l" defTabSz="895328" rtl="0" eaLnBrk="1" latinLnBrk="0" hangingPunct="1">
              <a:spcBef>
                <a:spcPct val="0"/>
              </a:spcBef>
              <a:buNone/>
              <a:defRPr sz="1808" kern="1200">
                <a:solidFill>
                  <a:schemeClr val="tx1"/>
                </a:solidFill>
                <a:latin typeface="+mj-lt"/>
                <a:ea typeface="+mj-ea"/>
                <a:cs typeface="+mj-cs"/>
              </a:defRPr>
            </a:lvl1pPr>
          </a:lstStyle>
          <a:p>
            <a:pPr>
              <a:lnSpc>
                <a:spcPct val="120000"/>
              </a:lnSpc>
            </a:pPr>
            <a:r>
              <a:rPr lang="en-AU" sz="1100" b="1" spc="600">
                <a:solidFill>
                  <a:schemeClr val="bg1">
                    <a:lumMod val="85000"/>
                  </a:schemeClr>
                </a:solidFill>
              </a:rPr>
              <a:t>FINANCIAL WELLBEING</a:t>
            </a:r>
            <a:endParaRPr lang="en-US" sz="700" b="1" spc="600">
              <a:solidFill>
                <a:schemeClr val="bg1">
                  <a:lumMod val="85000"/>
                </a:schemeClr>
              </a:solidFill>
            </a:endParaRPr>
          </a:p>
        </p:txBody>
      </p:sp>
      <p:sp>
        <p:nvSpPr>
          <p:cNvPr id="16" name="TextBox 1">
            <a:extLst>
              <a:ext uri="{FF2B5EF4-FFF2-40B4-BE49-F238E27FC236}">
                <a16:creationId xmlns:a16="http://schemas.microsoft.com/office/drawing/2014/main" id="{D142EE7C-AB4E-2603-7423-879BA72985EF}"/>
              </a:ext>
            </a:extLst>
          </p:cNvPr>
          <p:cNvSpPr txBox="1"/>
          <p:nvPr/>
        </p:nvSpPr>
        <p:spPr>
          <a:xfrm>
            <a:off x="3384115" y="6025847"/>
            <a:ext cx="5112228" cy="246221"/>
          </a:xfrm>
          <a:prstGeom prst="rect">
            <a:avLst/>
          </a:prstGeom>
          <a:noFill/>
        </p:spPr>
        <p:txBody>
          <a:bodyPr wrap="square" lIns="0" tIns="0" rIns="0" bIns="0" rtlCol="0">
            <a:spAutoFit/>
          </a:bodyPr>
          <a:lstStyle>
            <a:defPPr>
              <a:defRPr lang="en-US"/>
            </a:defPPr>
            <a:lvl1pPr indent="0">
              <a:spcBef>
                <a:spcPts val="0"/>
              </a:spcBef>
              <a:spcAft>
                <a:spcPts val="1333"/>
              </a:spcAft>
              <a:buSzPct val="100000"/>
              <a:defRPr sz="800" i="1">
                <a:solidFill>
                  <a:srgbClr val="595959"/>
                </a:solidFill>
                <a:latin typeface="Verdana Pro Light" panose="020B0304030504040204" pitchFamily="34" charset="0"/>
              </a:defRPr>
            </a:lvl1pPr>
            <a:lvl2pPr marL="457200" indent="0">
              <a:defRPr sz="1100"/>
            </a:lvl2pPr>
            <a:lvl3pPr marL="914400" indent="0">
              <a:defRPr sz="1100"/>
            </a:lvl3pPr>
            <a:lvl4pPr marL="1371600" indent="0">
              <a:defRPr sz="1100"/>
            </a:lvl4pPr>
            <a:lvl5pPr marL="1828800" indent="0">
              <a:defRPr sz="1100"/>
            </a:lvl5pPr>
            <a:lvl6pPr marL="2286000" indent="0">
              <a:defRPr sz="1100"/>
            </a:lvl6pPr>
            <a:lvl7pPr marL="2743200" indent="0">
              <a:defRPr sz="1100"/>
            </a:lvl7pPr>
            <a:lvl8pPr marL="3200400" indent="0">
              <a:defRPr sz="1100"/>
            </a:lvl8pPr>
            <a:lvl9pPr marL="3657600" indent="0">
              <a:defRPr sz="1100"/>
            </a:lvl9pPr>
          </a:lstStyle>
          <a:p>
            <a:r>
              <a:rPr lang="en-AU">
                <a:latin typeface="+mn-lt"/>
              </a:rPr>
              <a:t>Source: Deloitte </a:t>
            </a:r>
            <a:r>
              <a:rPr lang="en-AU" err="1">
                <a:latin typeface="+mn-lt"/>
              </a:rPr>
              <a:t>ConsumerSignals</a:t>
            </a:r>
            <a:r>
              <a:rPr lang="en-AU">
                <a:latin typeface="+mn-lt"/>
              </a:rPr>
              <a:t>. </a:t>
            </a:r>
            <a:br>
              <a:rPr lang="en-AU">
                <a:latin typeface="+mn-lt"/>
              </a:rPr>
            </a:br>
            <a:r>
              <a:rPr lang="en-AU">
                <a:latin typeface="+mn-lt"/>
              </a:rPr>
              <a:t>Note: The higher the index number the greater the level of consumer financial wellbeing. </a:t>
            </a:r>
          </a:p>
        </p:txBody>
      </p:sp>
      <p:graphicFrame>
        <p:nvGraphicFramePr>
          <p:cNvPr id="5" name="Chart 4">
            <a:extLst>
              <a:ext uri="{FF2B5EF4-FFF2-40B4-BE49-F238E27FC236}">
                <a16:creationId xmlns:a16="http://schemas.microsoft.com/office/drawing/2014/main" id="{C050C581-2E12-4402-12B2-C38D2ECDD2AC}"/>
              </a:ext>
            </a:extLst>
          </p:cNvPr>
          <p:cNvGraphicFramePr>
            <a:graphicFrameLocks/>
          </p:cNvGraphicFramePr>
          <p:nvPr>
            <p:extLst>
              <p:ext uri="{D42A27DB-BD31-4B8C-83A1-F6EECF244321}">
                <p14:modId xmlns:p14="http://schemas.microsoft.com/office/powerpoint/2010/main" val="1821948083"/>
              </p:ext>
            </p:extLst>
          </p:nvPr>
        </p:nvGraphicFramePr>
        <p:xfrm>
          <a:off x="3384115" y="2820684"/>
          <a:ext cx="5278622" cy="320516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28520399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id="{6AEDBD44-130C-C91D-5022-41C15852ACDE}"/>
              </a:ext>
            </a:extLst>
          </p:cNvPr>
          <p:cNvGraphicFramePr>
            <a:graphicFrameLocks/>
          </p:cNvGraphicFramePr>
          <p:nvPr>
            <p:extLst>
              <p:ext uri="{D42A27DB-BD31-4B8C-83A1-F6EECF244321}">
                <p14:modId xmlns:p14="http://schemas.microsoft.com/office/powerpoint/2010/main" val="160978470"/>
              </p:ext>
            </p:extLst>
          </p:nvPr>
        </p:nvGraphicFramePr>
        <p:xfrm>
          <a:off x="424972" y="2116464"/>
          <a:ext cx="5351552" cy="4088564"/>
        </p:xfrm>
        <a:graphic>
          <a:graphicData uri="http://schemas.openxmlformats.org/drawingml/2006/chart">
            <c:chart xmlns:c="http://schemas.openxmlformats.org/drawingml/2006/chart" xmlns:r="http://schemas.openxmlformats.org/officeDocument/2006/relationships" r:id="rId4"/>
          </a:graphicData>
        </a:graphic>
      </p:graphicFrame>
      <p:sp>
        <p:nvSpPr>
          <p:cNvPr id="5" name="Content Placeholder 4">
            <a:extLst>
              <a:ext uri="{FF2B5EF4-FFF2-40B4-BE49-F238E27FC236}">
                <a16:creationId xmlns:a16="http://schemas.microsoft.com/office/drawing/2014/main" id="{CF484FA5-BF59-0698-1175-BB6E536C755D}"/>
              </a:ext>
            </a:extLst>
          </p:cNvPr>
          <p:cNvSpPr>
            <a:spLocks noGrp="1"/>
          </p:cNvSpPr>
          <p:nvPr>
            <p:ph sz="quarter" idx="10"/>
          </p:nvPr>
        </p:nvSpPr>
        <p:spPr>
          <a:xfrm>
            <a:off x="387320" y="973882"/>
            <a:ext cx="11292694" cy="1270552"/>
          </a:xfrm>
        </p:spPr>
        <p:txBody>
          <a:bodyPr vert="horz" lIns="0" tIns="0" rIns="0" bIns="0" numCol="1" spcCol="360000" rtlCol="0">
            <a:noAutofit/>
          </a:bodyPr>
          <a:lstStyle/>
          <a:p>
            <a:pPr marL="285750" indent="-285750">
              <a:lnSpc>
                <a:spcPct val="110000"/>
              </a:lnSpc>
              <a:spcAft>
                <a:spcPts val="850"/>
              </a:spcAft>
              <a:buFont typeface="Arial" panose="020B0604020202020204" pitchFamily="34" charset="0"/>
              <a:buChar char="•"/>
            </a:pPr>
            <a:r>
              <a:rPr lang="en-US" sz="1400" dirty="0">
                <a:latin typeface="Open Sans" panose="020B0606030504020204" pitchFamily="34" charset="0"/>
                <a:ea typeface="Open Sans" panose="020B0606030504020204" pitchFamily="34" charset="0"/>
                <a:cs typeface="Open Sans" panose="020B0606030504020204" pitchFamily="34" charset="0"/>
              </a:rPr>
              <a:t>D</a:t>
            </a:r>
            <a:r>
              <a:rPr lang="en-AU" sz="1400" dirty="0" err="1">
                <a:latin typeface="Open Sans" panose="020B0606030504020204" pitchFamily="34" charset="0"/>
                <a:ea typeface="Open Sans" panose="020B0606030504020204" pitchFamily="34" charset="0"/>
                <a:cs typeface="Open Sans" panose="020B0606030504020204" pitchFamily="34" charset="0"/>
              </a:rPr>
              <a:t>iscretionary</a:t>
            </a:r>
            <a:r>
              <a:rPr lang="en-AU" sz="1400" dirty="0">
                <a:latin typeface="Open Sans" panose="020B0606030504020204" pitchFamily="34" charset="0"/>
                <a:ea typeface="Open Sans" panose="020B0606030504020204" pitchFamily="34" charset="0"/>
                <a:cs typeface="Open Sans" panose="020B0606030504020204" pitchFamily="34" charset="0"/>
              </a:rPr>
              <a:t> spending has fallen most for those </a:t>
            </a:r>
            <a:r>
              <a:rPr lang="en-AU" sz="1400" b="1" dirty="0">
                <a:latin typeface="Open Sans" panose="020B0606030504020204" pitchFamily="34" charset="0"/>
                <a:ea typeface="Open Sans" panose="020B0606030504020204" pitchFamily="34" charset="0"/>
                <a:cs typeface="Open Sans" panose="020B0606030504020204" pitchFamily="34" charset="0"/>
              </a:rPr>
              <a:t>more acutely feeling the cost of living pressures.</a:t>
            </a:r>
          </a:p>
          <a:p>
            <a:pPr marL="285750" indent="-285750">
              <a:lnSpc>
                <a:spcPct val="110000"/>
              </a:lnSpc>
              <a:spcAft>
                <a:spcPts val="850"/>
              </a:spcAft>
              <a:buFont typeface="Arial" panose="020B0604020202020204" pitchFamily="34" charset="0"/>
              <a:buChar char="•"/>
            </a:pPr>
            <a:r>
              <a:rPr lang="en-AU" sz="1400" b="1" dirty="0">
                <a:latin typeface="Open Sans" panose="020B0606030504020204" pitchFamily="34" charset="0"/>
                <a:ea typeface="Open Sans" panose="020B0606030504020204" pitchFamily="34" charset="0"/>
                <a:cs typeface="Open Sans" panose="020B0606030504020204" pitchFamily="34" charset="0"/>
              </a:rPr>
              <a:t>Spending has increased most significantly for older age cohorts</a:t>
            </a:r>
            <a:r>
              <a:rPr lang="en-AU" sz="1400" dirty="0">
                <a:latin typeface="Open Sans" panose="020B0606030504020204" pitchFamily="34" charset="0"/>
                <a:ea typeface="Open Sans" panose="020B0606030504020204" pitchFamily="34" charset="0"/>
                <a:cs typeface="Open Sans" panose="020B0606030504020204" pitchFamily="34" charset="0"/>
              </a:rPr>
              <a:t>, who are less likely to hold mortgages. </a:t>
            </a:r>
          </a:p>
        </p:txBody>
      </p:sp>
      <p:sp>
        <p:nvSpPr>
          <p:cNvPr id="11" name="Text Placeholder 2">
            <a:extLst>
              <a:ext uri="{FF2B5EF4-FFF2-40B4-BE49-F238E27FC236}">
                <a16:creationId xmlns:a16="http://schemas.microsoft.com/office/drawing/2014/main" id="{C8536D56-856D-40E9-ABB7-6CA21C7F0451}"/>
              </a:ext>
            </a:extLst>
          </p:cNvPr>
          <p:cNvSpPr txBox="1">
            <a:spLocks/>
          </p:cNvSpPr>
          <p:nvPr/>
        </p:nvSpPr>
        <p:spPr>
          <a:xfrm>
            <a:off x="507508" y="1772718"/>
            <a:ext cx="5269016" cy="343745"/>
          </a:xfrm>
          <a:prstGeom prst="rect">
            <a:avLst/>
          </a:prstGeom>
        </p:spPr>
        <p:txBody>
          <a:bodyPr vert="horz" lIns="0" tIns="0" rIns="0" bIns="0" rtlCol="0" anchor="t">
            <a:noAutofit/>
          </a:bodyPr>
          <a:lstStyle>
            <a:lvl1pPr marL="0" indent="0" algn="l" defTabSz="1219170" rtl="0" eaLnBrk="1" latinLnBrk="0" hangingPunct="1">
              <a:spcBef>
                <a:spcPts val="0"/>
              </a:spcBef>
              <a:spcAft>
                <a:spcPts val="1000"/>
              </a:spcAft>
              <a:buClrTx/>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kumimoji="0" lang="en-AU" altLang="en-US" sz="1050" b="0" i="0" u="none" strike="noStrike" cap="none" normalizeH="0" baseline="0">
                <a:ln>
                  <a:noFill/>
                </a:ln>
                <a:solidFill>
                  <a:srgbClr val="75787B"/>
                </a:solidFill>
                <a:effectLst/>
                <a:latin typeface="+mj-lt"/>
                <a:ea typeface="Verdana"/>
                <a:cs typeface="Open Sans Light"/>
              </a:rPr>
              <a:t>Chart 8: </a:t>
            </a:r>
            <a:r>
              <a:rPr lang="en-AU" sz="1050">
                <a:solidFill>
                  <a:srgbClr val="75787B"/>
                </a:solidFill>
                <a:latin typeface="+mj-lt"/>
                <a:ea typeface="Verdana"/>
                <a:cs typeface="Open Sans Light"/>
              </a:rPr>
              <a:t>Change essential spending* (nominal) per capita by age (annual change to March 2024)</a:t>
            </a:r>
          </a:p>
        </p:txBody>
      </p:sp>
      <p:sp>
        <p:nvSpPr>
          <p:cNvPr id="12" name="Text Placeholder 2">
            <a:extLst>
              <a:ext uri="{FF2B5EF4-FFF2-40B4-BE49-F238E27FC236}">
                <a16:creationId xmlns:a16="http://schemas.microsoft.com/office/drawing/2014/main" id="{E76D3898-33B0-DB6D-4709-0ED6F5C8EEC0}"/>
              </a:ext>
            </a:extLst>
          </p:cNvPr>
          <p:cNvSpPr txBox="1">
            <a:spLocks/>
          </p:cNvSpPr>
          <p:nvPr/>
        </p:nvSpPr>
        <p:spPr>
          <a:xfrm>
            <a:off x="6262156" y="1772718"/>
            <a:ext cx="5754648" cy="343745"/>
          </a:xfrm>
          <a:prstGeom prst="rect">
            <a:avLst/>
          </a:prstGeom>
        </p:spPr>
        <p:txBody>
          <a:bodyPr vert="horz" lIns="0" tIns="0" rIns="0" bIns="0" rtlCol="0" anchor="t">
            <a:noAutofit/>
          </a:bodyPr>
          <a:lstStyle>
            <a:lvl1pPr marL="0" indent="0" algn="l" defTabSz="1219170" rtl="0" eaLnBrk="1" latinLnBrk="0" hangingPunct="1">
              <a:spcBef>
                <a:spcPts val="0"/>
              </a:spcBef>
              <a:spcAft>
                <a:spcPts val="1000"/>
              </a:spcAft>
              <a:buClrTx/>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kumimoji="0" lang="en-AU" altLang="en-US" sz="1050" b="0" i="0" u="none" strike="noStrike" cap="none" normalizeH="0" baseline="0">
                <a:ln>
                  <a:noFill/>
                </a:ln>
                <a:solidFill>
                  <a:srgbClr val="75787B"/>
                </a:solidFill>
                <a:effectLst/>
                <a:latin typeface="+mj-lt"/>
                <a:ea typeface="Verdana"/>
                <a:cs typeface="Open Sans Light"/>
              </a:rPr>
              <a:t>Chart 9: </a:t>
            </a:r>
            <a:r>
              <a:rPr lang="en-AU" sz="1050">
                <a:solidFill>
                  <a:srgbClr val="75787B"/>
                </a:solidFill>
                <a:latin typeface="+mj-lt"/>
                <a:ea typeface="Verdana"/>
                <a:cs typeface="Open Sans Light"/>
              </a:rPr>
              <a:t>Change in discretionary spending (nominal) per capita by age (annual change to March 2024)</a:t>
            </a:r>
          </a:p>
        </p:txBody>
      </p:sp>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430544631"/>
              </p:ext>
            </p:extLst>
          </p:nvPr>
        </p:nvGraphicFramePr>
        <p:xfrm>
          <a:off x="1265510" y="85294"/>
          <a:ext cx="1548" cy="1548"/>
        </p:xfrm>
        <a:graphic>
          <a:graphicData uri="http://schemas.openxmlformats.org/presentationml/2006/ole">
            <mc:AlternateContent xmlns:mc="http://schemas.openxmlformats.org/markup-compatibility/2006">
              <mc:Choice xmlns:v="urn:schemas-microsoft-com:vml" Requires="v">
                <p:oleObj name="think-cell Slide" r:id="rId5" imgW="624" imgH="623" progId="TCLayout.ActiveDocument.1">
                  <p:embed/>
                </p:oleObj>
              </mc:Choice>
              <mc:Fallback>
                <p:oleObj name="think-cell Slide" r:id="rId5" imgW="624" imgH="623" progId="TCLayout.ActiveDocument.1">
                  <p:embed/>
                  <p:pic>
                    <p:nvPicPr>
                      <p:cNvPr id="3" name="Object 2" hidden="1"/>
                      <p:cNvPicPr/>
                      <p:nvPr/>
                    </p:nvPicPr>
                    <p:blipFill>
                      <a:blip r:embed="rId6"/>
                      <a:stretch>
                        <a:fillRect/>
                      </a:stretch>
                    </p:blipFill>
                    <p:spPr>
                      <a:xfrm>
                        <a:off x="1265510" y="85294"/>
                        <a:ext cx="1548" cy="1548"/>
                      </a:xfrm>
                      <a:prstGeom prst="rect">
                        <a:avLst/>
                      </a:prstGeom>
                    </p:spPr>
                  </p:pic>
                </p:oleObj>
              </mc:Fallback>
            </mc:AlternateContent>
          </a:graphicData>
        </a:graphic>
      </p:graphicFrame>
      <p:sp>
        <p:nvSpPr>
          <p:cNvPr id="8" name="TextBox 1">
            <a:extLst>
              <a:ext uri="{FF2B5EF4-FFF2-40B4-BE49-F238E27FC236}">
                <a16:creationId xmlns:a16="http://schemas.microsoft.com/office/drawing/2014/main" id="{DE78D790-F202-EF2A-D21F-1AE0AEE7E551}"/>
              </a:ext>
            </a:extLst>
          </p:cNvPr>
          <p:cNvSpPr txBox="1"/>
          <p:nvPr/>
        </p:nvSpPr>
        <p:spPr>
          <a:xfrm>
            <a:off x="507508" y="6143473"/>
            <a:ext cx="2383988" cy="123111"/>
          </a:xfrm>
          <a:prstGeom prst="rect">
            <a:avLst/>
          </a:prstGeom>
          <a:noFill/>
        </p:spPr>
        <p:txBody>
          <a:bodyPr wrap="square" lIns="0" tIns="0" rIns="0" bIns="0" rtlCol="0">
            <a:spAutoFit/>
          </a:bodyPr>
          <a:lstStyle>
            <a:defPPr>
              <a:defRPr lang="en-US"/>
            </a:defPPr>
            <a:lvl1pPr indent="0">
              <a:spcBef>
                <a:spcPts val="0"/>
              </a:spcBef>
              <a:spcAft>
                <a:spcPts val="1333"/>
              </a:spcAft>
              <a:buSzPct val="100000"/>
              <a:defRPr sz="800" i="1">
                <a:solidFill>
                  <a:srgbClr val="595959"/>
                </a:solidFill>
                <a:latin typeface="Verdana Pro Light" panose="020B0304030504040204" pitchFamily="34" charset="0"/>
              </a:defRPr>
            </a:lvl1pPr>
            <a:lvl2pPr marL="457200" indent="0">
              <a:defRPr sz="1100"/>
            </a:lvl2pPr>
            <a:lvl3pPr marL="914400" indent="0">
              <a:defRPr sz="1100"/>
            </a:lvl3pPr>
            <a:lvl4pPr marL="1371600" indent="0">
              <a:defRPr sz="1100"/>
            </a:lvl4pPr>
            <a:lvl5pPr marL="1828800" indent="0">
              <a:defRPr sz="1100"/>
            </a:lvl5pPr>
            <a:lvl6pPr marL="2286000" indent="0">
              <a:defRPr sz="1100"/>
            </a:lvl6pPr>
            <a:lvl7pPr marL="2743200" indent="0">
              <a:defRPr sz="1100"/>
            </a:lvl7pPr>
            <a:lvl8pPr marL="3200400" indent="0">
              <a:defRPr sz="1100"/>
            </a:lvl8pPr>
            <a:lvl9pPr marL="3657600" indent="0">
              <a:defRPr sz="1100"/>
            </a:lvl9pPr>
          </a:lstStyle>
          <a:p>
            <a:r>
              <a:rPr lang="en-AU">
                <a:latin typeface="+mn-lt"/>
              </a:rPr>
              <a:t>Source: Commonwealth Bank of Australia.</a:t>
            </a:r>
          </a:p>
        </p:txBody>
      </p:sp>
      <p:graphicFrame>
        <p:nvGraphicFramePr>
          <p:cNvPr id="10" name="Chart 9">
            <a:extLst>
              <a:ext uri="{FF2B5EF4-FFF2-40B4-BE49-F238E27FC236}">
                <a16:creationId xmlns:a16="http://schemas.microsoft.com/office/drawing/2014/main" id="{7FFD157F-31B0-4C93-8846-3657A6AF663B}"/>
              </a:ext>
            </a:extLst>
          </p:cNvPr>
          <p:cNvGraphicFramePr>
            <a:graphicFrameLocks/>
          </p:cNvGraphicFramePr>
          <p:nvPr>
            <p:extLst>
              <p:ext uri="{D42A27DB-BD31-4B8C-83A1-F6EECF244321}">
                <p14:modId xmlns:p14="http://schemas.microsoft.com/office/powerpoint/2010/main" val="3782181293"/>
              </p:ext>
            </p:extLst>
          </p:nvPr>
        </p:nvGraphicFramePr>
        <p:xfrm>
          <a:off x="6262156" y="2116463"/>
          <a:ext cx="5351552" cy="4088565"/>
        </p:xfrm>
        <a:graphic>
          <a:graphicData uri="http://schemas.openxmlformats.org/drawingml/2006/chart">
            <c:chart xmlns:c="http://schemas.openxmlformats.org/drawingml/2006/chart" xmlns:r="http://schemas.openxmlformats.org/officeDocument/2006/relationships" r:id="rId7"/>
          </a:graphicData>
        </a:graphic>
      </p:graphicFrame>
      <p:sp>
        <p:nvSpPr>
          <p:cNvPr id="13" name="TextBox 1">
            <a:extLst>
              <a:ext uri="{FF2B5EF4-FFF2-40B4-BE49-F238E27FC236}">
                <a16:creationId xmlns:a16="http://schemas.microsoft.com/office/drawing/2014/main" id="{70E7FC0C-AF00-01D1-D412-C66807AD95ED}"/>
              </a:ext>
            </a:extLst>
          </p:cNvPr>
          <p:cNvSpPr txBox="1"/>
          <p:nvPr/>
        </p:nvSpPr>
        <p:spPr>
          <a:xfrm>
            <a:off x="6262156" y="6143473"/>
            <a:ext cx="2383988" cy="123111"/>
          </a:xfrm>
          <a:prstGeom prst="rect">
            <a:avLst/>
          </a:prstGeom>
          <a:noFill/>
        </p:spPr>
        <p:txBody>
          <a:bodyPr wrap="square" lIns="0" tIns="0" rIns="0" bIns="0" rtlCol="0">
            <a:spAutoFit/>
          </a:bodyPr>
          <a:lstStyle>
            <a:defPPr>
              <a:defRPr lang="en-US"/>
            </a:defPPr>
            <a:lvl1pPr indent="0">
              <a:spcBef>
                <a:spcPts val="0"/>
              </a:spcBef>
              <a:spcAft>
                <a:spcPts val="1333"/>
              </a:spcAft>
              <a:buSzPct val="100000"/>
              <a:defRPr sz="800" i="1">
                <a:solidFill>
                  <a:srgbClr val="595959"/>
                </a:solidFill>
                <a:latin typeface="Verdana Pro Light" panose="020B0304030504040204" pitchFamily="34" charset="0"/>
              </a:defRPr>
            </a:lvl1pPr>
            <a:lvl2pPr marL="457200" indent="0">
              <a:defRPr sz="1100"/>
            </a:lvl2pPr>
            <a:lvl3pPr marL="914400" indent="0">
              <a:defRPr sz="1100"/>
            </a:lvl3pPr>
            <a:lvl4pPr marL="1371600" indent="0">
              <a:defRPr sz="1100"/>
            </a:lvl4pPr>
            <a:lvl5pPr marL="1828800" indent="0">
              <a:defRPr sz="1100"/>
            </a:lvl5pPr>
            <a:lvl6pPr marL="2286000" indent="0">
              <a:defRPr sz="1100"/>
            </a:lvl6pPr>
            <a:lvl7pPr marL="2743200" indent="0">
              <a:defRPr sz="1100"/>
            </a:lvl7pPr>
            <a:lvl8pPr marL="3200400" indent="0">
              <a:defRPr sz="1100"/>
            </a:lvl8pPr>
            <a:lvl9pPr marL="3657600" indent="0">
              <a:defRPr sz="1100"/>
            </a:lvl9pPr>
          </a:lstStyle>
          <a:p>
            <a:r>
              <a:rPr lang="en-AU">
                <a:latin typeface="+mn-lt"/>
              </a:rPr>
              <a:t>Source: Commonwealth Bank of Australia.</a:t>
            </a:r>
          </a:p>
        </p:txBody>
      </p:sp>
      <p:sp>
        <p:nvSpPr>
          <p:cNvPr id="15" name="TextBox 1">
            <a:extLst>
              <a:ext uri="{FF2B5EF4-FFF2-40B4-BE49-F238E27FC236}">
                <a16:creationId xmlns:a16="http://schemas.microsoft.com/office/drawing/2014/main" id="{3D9E8B07-E93B-1850-2F16-4057A9AEDBC1}"/>
              </a:ext>
            </a:extLst>
          </p:cNvPr>
          <p:cNvSpPr txBox="1"/>
          <p:nvPr/>
        </p:nvSpPr>
        <p:spPr>
          <a:xfrm>
            <a:off x="507507" y="6316151"/>
            <a:ext cx="3883517" cy="123111"/>
          </a:xfrm>
          <a:prstGeom prst="rect">
            <a:avLst/>
          </a:prstGeom>
          <a:noFill/>
        </p:spPr>
        <p:txBody>
          <a:bodyPr wrap="square" lIns="0" tIns="0" rIns="0" bIns="0" rtlCol="0">
            <a:spAutoFit/>
          </a:bodyPr>
          <a:lstStyle>
            <a:defPPr>
              <a:defRPr lang="en-US"/>
            </a:defPPr>
            <a:lvl1pPr indent="0">
              <a:spcBef>
                <a:spcPts val="0"/>
              </a:spcBef>
              <a:spcAft>
                <a:spcPts val="1333"/>
              </a:spcAft>
              <a:buSzPct val="100000"/>
              <a:defRPr sz="800" i="1">
                <a:solidFill>
                  <a:srgbClr val="595959"/>
                </a:solidFill>
                <a:latin typeface="Verdana Pro Light" panose="020B0304030504040204" pitchFamily="34" charset="0"/>
              </a:defRPr>
            </a:lvl1pPr>
            <a:lvl2pPr marL="457200" indent="0">
              <a:defRPr sz="1100"/>
            </a:lvl2pPr>
            <a:lvl3pPr marL="914400" indent="0">
              <a:defRPr sz="1100"/>
            </a:lvl3pPr>
            <a:lvl4pPr marL="1371600" indent="0">
              <a:defRPr sz="1100"/>
            </a:lvl4pPr>
            <a:lvl5pPr marL="1828800" indent="0">
              <a:defRPr sz="1100"/>
            </a:lvl5pPr>
            <a:lvl6pPr marL="2286000" indent="0">
              <a:defRPr sz="1100"/>
            </a:lvl6pPr>
            <a:lvl7pPr marL="2743200" indent="0">
              <a:defRPr sz="1100"/>
            </a:lvl7pPr>
            <a:lvl8pPr marL="3200400" indent="0">
              <a:defRPr sz="1100"/>
            </a:lvl8pPr>
            <a:lvl9pPr marL="3657600" indent="0">
              <a:defRPr sz="1100"/>
            </a:lvl9pPr>
          </a:lstStyle>
          <a:p>
            <a:r>
              <a:rPr lang="en-AU">
                <a:latin typeface="+mn-lt"/>
              </a:rPr>
              <a:t>* Essential spending excluding housing expenses.</a:t>
            </a:r>
          </a:p>
        </p:txBody>
      </p:sp>
      <p:graphicFrame>
        <p:nvGraphicFramePr>
          <p:cNvPr id="4" name="Table 15">
            <a:extLst>
              <a:ext uri="{FF2B5EF4-FFF2-40B4-BE49-F238E27FC236}">
                <a16:creationId xmlns:a16="http://schemas.microsoft.com/office/drawing/2014/main" id="{62AA6188-34AF-6AE0-6D2C-65281C727FF1}"/>
              </a:ext>
            </a:extLst>
          </p:cNvPr>
          <p:cNvGraphicFramePr>
            <a:graphicFrameLocks noGrp="1"/>
          </p:cNvGraphicFramePr>
          <p:nvPr>
            <p:extLst>
              <p:ext uri="{D42A27DB-BD31-4B8C-83A1-F6EECF244321}">
                <p14:modId xmlns:p14="http://schemas.microsoft.com/office/powerpoint/2010/main" val="1931058922"/>
              </p:ext>
            </p:extLst>
          </p:nvPr>
        </p:nvGraphicFramePr>
        <p:xfrm>
          <a:off x="387320" y="480293"/>
          <a:ext cx="11292695" cy="396240"/>
        </p:xfrm>
        <a:graphic>
          <a:graphicData uri="http://schemas.openxmlformats.org/drawingml/2006/table">
            <a:tbl>
              <a:tblPr firstRow="1" bandRow="1">
                <a:tableStyleId>{5C22544A-7EE6-4342-B048-85BDC9FD1C3A}</a:tableStyleId>
              </a:tblPr>
              <a:tblGrid>
                <a:gridCol w="11292695">
                  <a:extLst>
                    <a:ext uri="{9D8B030D-6E8A-4147-A177-3AD203B41FA5}">
                      <a16:colId xmlns:a16="http://schemas.microsoft.com/office/drawing/2014/main" val="1216123402"/>
                    </a:ext>
                  </a:extLst>
                </a:gridCol>
              </a:tblGrid>
              <a:tr h="370840">
                <a:tc>
                  <a:txBody>
                    <a:bodyPr/>
                    <a:lstStyle/>
                    <a:p>
                      <a:pPr marL="0" marR="0" lvl="0" indent="0" algn="l" defTabSz="895328" rtl="0" eaLnBrk="1" fontAlgn="auto" latinLnBrk="0" hangingPunct="1">
                        <a:lnSpc>
                          <a:spcPct val="100000"/>
                        </a:lnSpc>
                        <a:spcBef>
                          <a:spcPts val="0"/>
                        </a:spcBef>
                        <a:spcAft>
                          <a:spcPts val="0"/>
                        </a:spcAft>
                        <a:buClrTx/>
                        <a:buSzTx/>
                        <a:buFontTx/>
                        <a:buNone/>
                        <a:tabLst/>
                        <a:defRPr/>
                      </a:pPr>
                      <a:r>
                        <a:rPr lang="en-AU" sz="2000" b="1">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rPr>
                        <a:t>Spending capacity is not uniform</a:t>
                      </a:r>
                      <a:endParaRPr lang="en-AU" sz="2000" dirty="0">
                        <a:latin typeface="Open Sans" panose="020B0606030504020204" pitchFamily="34" charset="0"/>
                        <a:ea typeface="Open Sans" panose="020B0606030504020204" pitchFamily="34" charset="0"/>
                        <a:cs typeface="Open Sans" panose="020B0606030504020204" pitchFamily="34" charset="0"/>
                      </a:endParaRPr>
                    </a:p>
                  </a:txBody>
                  <a:tcPr>
                    <a:lnB w="28575"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val="237313093"/>
                  </a:ext>
                </a:extLst>
              </a:tr>
            </a:tbl>
          </a:graphicData>
        </a:graphic>
      </p:graphicFrame>
      <p:sp>
        <p:nvSpPr>
          <p:cNvPr id="14" name="Title 1">
            <a:extLst>
              <a:ext uri="{FF2B5EF4-FFF2-40B4-BE49-F238E27FC236}">
                <a16:creationId xmlns:a16="http://schemas.microsoft.com/office/drawing/2014/main" id="{94B8E6C3-E092-258A-981C-4FE82565AD4B}"/>
              </a:ext>
            </a:extLst>
          </p:cNvPr>
          <p:cNvSpPr txBox="1">
            <a:spLocks/>
          </p:cNvSpPr>
          <p:nvPr/>
        </p:nvSpPr>
        <p:spPr bwMode="gray">
          <a:xfrm>
            <a:off x="424972" y="157151"/>
            <a:ext cx="11339211" cy="349686"/>
          </a:xfrm>
          <a:prstGeom prst="rect">
            <a:avLst/>
          </a:prstGeom>
        </p:spPr>
        <p:txBody>
          <a:bodyPr vert="horz" lIns="0" tIns="0" rIns="0" bIns="0" rtlCol="0" anchor="t" anchorCtr="0">
            <a:normAutofit fontScale="97500"/>
          </a:bodyPr>
          <a:lstStyle>
            <a:lvl1pPr algn="l" defTabSz="895328" rtl="0" eaLnBrk="1" latinLnBrk="0" hangingPunct="1">
              <a:spcBef>
                <a:spcPct val="0"/>
              </a:spcBef>
              <a:buNone/>
              <a:defRPr sz="1808" kern="1200">
                <a:solidFill>
                  <a:schemeClr val="tx1"/>
                </a:solidFill>
                <a:latin typeface="+mj-lt"/>
                <a:ea typeface="+mj-ea"/>
                <a:cs typeface="+mj-cs"/>
              </a:defRPr>
            </a:lvl1pPr>
          </a:lstStyle>
          <a:p>
            <a:pPr>
              <a:lnSpc>
                <a:spcPct val="120000"/>
              </a:lnSpc>
            </a:pPr>
            <a:r>
              <a:rPr lang="en-AU" sz="1100" b="1" spc="600">
                <a:solidFill>
                  <a:schemeClr val="bg1">
                    <a:lumMod val="85000"/>
                  </a:schemeClr>
                </a:solidFill>
              </a:rPr>
              <a:t>CONSUMER SPENDING</a:t>
            </a:r>
            <a:endParaRPr lang="en-US" sz="700" b="1" spc="600">
              <a:solidFill>
                <a:schemeClr val="bg1">
                  <a:lumMod val="85000"/>
                </a:schemeClr>
              </a:solidFill>
            </a:endParaRPr>
          </a:p>
        </p:txBody>
      </p:sp>
    </p:spTree>
    <p:extLst>
      <p:ext uri="{BB962C8B-B14F-4D97-AF65-F5344CB8AC3E}">
        <p14:creationId xmlns:p14="http://schemas.microsoft.com/office/powerpoint/2010/main" val="36977441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4">
            <a:extLst>
              <a:ext uri="{FF2B5EF4-FFF2-40B4-BE49-F238E27FC236}">
                <a16:creationId xmlns:a16="http://schemas.microsoft.com/office/drawing/2014/main" id="{AE3BBCA1-919F-0957-879A-EA320D1895F5}"/>
              </a:ext>
            </a:extLst>
          </p:cNvPr>
          <p:cNvSpPr txBox="1">
            <a:spLocks/>
          </p:cNvSpPr>
          <p:nvPr/>
        </p:nvSpPr>
        <p:spPr>
          <a:xfrm>
            <a:off x="346996" y="998400"/>
            <a:ext cx="11236370" cy="1489878"/>
          </a:xfrm>
          <a:prstGeom prst="rect">
            <a:avLst/>
          </a:prstGeom>
        </p:spPr>
        <p:txBody>
          <a:bodyPr vert="horz" lIns="0" tIns="0" rIns="0" bIns="0" numCol="1" spcCol="360000" rtlCol="0">
            <a:noAutofit/>
          </a:bodyPr>
          <a:lstStyle>
            <a:defPPr>
              <a:defRPr lang="en-US"/>
            </a:defPPr>
            <a:lvl1pPr marL="0" algn="l" defTabSz="715952" rtl="0" eaLnBrk="1" latinLnBrk="0" hangingPunct="1">
              <a:defRPr sz="1410" kern="1200">
                <a:solidFill>
                  <a:schemeClr val="tx1"/>
                </a:solidFill>
                <a:latin typeface="+mn-lt"/>
                <a:ea typeface="+mn-ea"/>
                <a:cs typeface="+mn-cs"/>
              </a:defRPr>
            </a:lvl1pPr>
            <a:lvl2pPr marL="357977" algn="l" defTabSz="715952" rtl="0" eaLnBrk="1" latinLnBrk="0" hangingPunct="1">
              <a:defRPr sz="1410" kern="1200">
                <a:solidFill>
                  <a:schemeClr val="tx1"/>
                </a:solidFill>
                <a:latin typeface="+mn-lt"/>
                <a:ea typeface="+mn-ea"/>
                <a:cs typeface="+mn-cs"/>
              </a:defRPr>
            </a:lvl2pPr>
            <a:lvl3pPr marL="715952" algn="l" defTabSz="715952" rtl="0" eaLnBrk="1" latinLnBrk="0" hangingPunct="1">
              <a:defRPr sz="1410" kern="1200">
                <a:solidFill>
                  <a:schemeClr val="tx1"/>
                </a:solidFill>
                <a:latin typeface="+mn-lt"/>
                <a:ea typeface="+mn-ea"/>
                <a:cs typeface="+mn-cs"/>
              </a:defRPr>
            </a:lvl3pPr>
            <a:lvl4pPr marL="1073928" algn="l" defTabSz="715952" rtl="0" eaLnBrk="1" latinLnBrk="0" hangingPunct="1">
              <a:defRPr sz="1410" kern="1200">
                <a:solidFill>
                  <a:schemeClr val="tx1"/>
                </a:solidFill>
                <a:latin typeface="+mn-lt"/>
                <a:ea typeface="+mn-ea"/>
                <a:cs typeface="+mn-cs"/>
              </a:defRPr>
            </a:lvl4pPr>
            <a:lvl5pPr marL="1431905" algn="l" defTabSz="715952" rtl="0" eaLnBrk="1" latinLnBrk="0" hangingPunct="1">
              <a:defRPr sz="1410" kern="1200">
                <a:solidFill>
                  <a:schemeClr val="tx1"/>
                </a:solidFill>
                <a:latin typeface="+mn-lt"/>
                <a:ea typeface="+mn-ea"/>
                <a:cs typeface="+mn-cs"/>
              </a:defRPr>
            </a:lvl5pPr>
            <a:lvl6pPr marL="1789881" algn="l" defTabSz="715952" rtl="0" eaLnBrk="1" latinLnBrk="0" hangingPunct="1">
              <a:defRPr sz="1410" kern="1200">
                <a:solidFill>
                  <a:schemeClr val="tx1"/>
                </a:solidFill>
                <a:latin typeface="+mn-lt"/>
                <a:ea typeface="+mn-ea"/>
                <a:cs typeface="+mn-cs"/>
              </a:defRPr>
            </a:lvl6pPr>
            <a:lvl7pPr marL="2147856" algn="l" defTabSz="715952" rtl="0" eaLnBrk="1" latinLnBrk="0" hangingPunct="1">
              <a:defRPr sz="1410" kern="1200">
                <a:solidFill>
                  <a:schemeClr val="tx1"/>
                </a:solidFill>
                <a:latin typeface="+mn-lt"/>
                <a:ea typeface="+mn-ea"/>
                <a:cs typeface="+mn-cs"/>
              </a:defRPr>
            </a:lvl7pPr>
            <a:lvl8pPr marL="2505832" algn="l" defTabSz="715952" rtl="0" eaLnBrk="1" latinLnBrk="0" hangingPunct="1">
              <a:defRPr sz="1410" kern="1200">
                <a:solidFill>
                  <a:schemeClr val="tx1"/>
                </a:solidFill>
                <a:latin typeface="+mn-lt"/>
                <a:ea typeface="+mn-ea"/>
                <a:cs typeface="+mn-cs"/>
              </a:defRPr>
            </a:lvl8pPr>
            <a:lvl9pPr marL="2863809" algn="l" defTabSz="715952" rtl="0" eaLnBrk="1" latinLnBrk="0" hangingPunct="1">
              <a:defRPr sz="1410" kern="1200">
                <a:solidFill>
                  <a:schemeClr val="tx1"/>
                </a:solidFill>
                <a:latin typeface="+mn-lt"/>
                <a:ea typeface="+mn-ea"/>
                <a:cs typeface="+mn-cs"/>
              </a:defRPr>
            </a:lvl9pPr>
          </a:lstStyle>
          <a:p>
            <a:pPr marL="285750" indent="-285750">
              <a:spcBef>
                <a:spcPts val="1200"/>
              </a:spcBef>
              <a:buFont typeface="Arial" panose="020B0604020202020204" pitchFamily="34" charset="0"/>
              <a:buChar char="•"/>
            </a:pPr>
            <a:r>
              <a:rPr lang="en-GB" sz="1400" dirty="0">
                <a:latin typeface="Open Sans" panose="020B0606030504020204" pitchFamily="34" charset="0"/>
                <a:ea typeface="Open Sans" panose="020B0606030504020204" pitchFamily="34" charset="0"/>
                <a:cs typeface="Open Sans" panose="020B0606030504020204" pitchFamily="34" charset="0"/>
              </a:rPr>
              <a:t>Employment growth has remained strong. In the first nine months of 2024 a net 373,780 people have gained employment, averaging 41,530 a month – almost double the pre-pandemic average.</a:t>
            </a:r>
          </a:p>
          <a:p>
            <a:pPr marL="285750" indent="-285750">
              <a:spcBef>
                <a:spcPts val="1200"/>
              </a:spcBef>
              <a:buFont typeface="Arial" panose="020B0604020202020204" pitchFamily="34" charset="0"/>
              <a:buChar char="•"/>
            </a:pPr>
            <a:r>
              <a:rPr lang="en-GB" sz="1400" dirty="0">
                <a:latin typeface="Open Sans" panose="020B0606030504020204" pitchFamily="34" charset="0"/>
                <a:ea typeface="Open Sans" panose="020B0606030504020204" pitchFamily="34" charset="0"/>
                <a:cs typeface="Open Sans" panose="020B0606030504020204" pitchFamily="34" charset="0"/>
              </a:rPr>
              <a:t>However, </a:t>
            </a:r>
            <a:r>
              <a:rPr lang="en-GB" sz="1400" b="1" dirty="0">
                <a:latin typeface="Open Sans" panose="020B0606030504020204" pitchFamily="34" charset="0"/>
                <a:ea typeface="Open Sans" panose="020B0606030504020204" pitchFamily="34" charset="0"/>
                <a:cs typeface="Open Sans" panose="020B0606030504020204" pitchFamily="34" charset="0"/>
              </a:rPr>
              <a:t>a very large share of employment growth in 2024 has been driven by the non-market economy</a:t>
            </a:r>
            <a:r>
              <a:rPr lang="en-GB" sz="1400" dirty="0">
                <a:latin typeface="Open Sans" panose="020B0606030504020204" pitchFamily="34" charset="0"/>
                <a:ea typeface="Open Sans" panose="020B0606030504020204" pitchFamily="34" charset="0"/>
                <a:cs typeface="Open Sans" panose="020B0606030504020204" pitchFamily="34" charset="0"/>
              </a:rPr>
              <a:t>. In the year to June 2024 83% of employment gains were attributable to the non-market sector.</a:t>
            </a:r>
          </a:p>
          <a:p>
            <a:pPr marL="285750" indent="-285750">
              <a:spcBef>
                <a:spcPts val="1200"/>
              </a:spcBef>
              <a:buFont typeface="Arial" panose="020B0604020202020204" pitchFamily="34" charset="0"/>
              <a:buChar char="•"/>
            </a:pPr>
            <a:r>
              <a:rPr lang="en-GB" sz="1400" dirty="0">
                <a:latin typeface="Open Sans" panose="020B0606030504020204" pitchFamily="34" charset="0"/>
                <a:ea typeface="Open Sans" panose="020B0606030504020204" pitchFamily="34" charset="0"/>
                <a:cs typeface="Open Sans" panose="020B0606030504020204" pitchFamily="34" charset="0"/>
              </a:rPr>
              <a:t>Employment in the retail sector has rebounded in 2024, recovering the employment losses which were seen in 2023.</a:t>
            </a:r>
            <a:endParaRPr lang="en-GB" sz="14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3" name="Rectangle 2">
            <a:extLst>
              <a:ext uri="{FF2B5EF4-FFF2-40B4-BE49-F238E27FC236}">
                <a16:creationId xmlns:a16="http://schemas.microsoft.com/office/drawing/2014/main" id="{58E629D9-2BC0-81BD-D7A0-6C7E421BA1A4}"/>
              </a:ext>
            </a:extLst>
          </p:cNvPr>
          <p:cNvSpPr>
            <a:spLocks noChangeArrowheads="1"/>
          </p:cNvSpPr>
          <p:nvPr/>
        </p:nvSpPr>
        <p:spPr bwMode="auto">
          <a:xfrm>
            <a:off x="6095999" y="2853778"/>
            <a:ext cx="4856703" cy="415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AU" altLang="en-US" sz="1050" i="0" u="none" strike="noStrike" cap="none" normalizeH="0" baseline="0">
                <a:ln>
                  <a:noFill/>
                </a:ln>
                <a:solidFill>
                  <a:srgbClr val="75787B"/>
                </a:solidFill>
                <a:effectLst/>
                <a:latin typeface="+mj-lt"/>
                <a:ea typeface="Verdana" panose="020B0604030504040204" pitchFamily="34" charset="0"/>
                <a:cs typeface="Open Sans Light" panose="020B0306030504020204" pitchFamily="34" charset="0"/>
              </a:rPr>
              <a:t>Chart </a:t>
            </a:r>
            <a:r>
              <a:rPr kumimoji="0" lang="en-AU" altLang="en-US" sz="1050" i="0" u="none" strike="noStrike" cap="none" normalizeH="0" baseline="0" dirty="0">
                <a:ln>
                  <a:noFill/>
                </a:ln>
                <a:solidFill>
                  <a:srgbClr val="75787B"/>
                </a:solidFill>
                <a:effectLst/>
                <a:latin typeface="+mj-lt"/>
                <a:ea typeface="Verdana" panose="020B0604030504040204" pitchFamily="34" charset="0"/>
                <a:cs typeface="Open Sans Light" panose="020B0306030504020204" pitchFamily="34" charset="0"/>
              </a:rPr>
              <a:t>13</a:t>
            </a:r>
            <a:r>
              <a:rPr kumimoji="0" lang="en-AU" altLang="en-US" sz="1050" i="0" u="none" strike="noStrike" cap="none" normalizeH="0" baseline="0">
                <a:ln>
                  <a:noFill/>
                </a:ln>
                <a:solidFill>
                  <a:srgbClr val="75787B"/>
                </a:solidFill>
                <a:effectLst/>
                <a:latin typeface="+mj-lt"/>
                <a:ea typeface="Verdana" panose="020B0604030504040204" pitchFamily="34" charset="0"/>
                <a:cs typeface="Open Sans Light" panose="020B0306030504020204" pitchFamily="34" charset="0"/>
              </a:rPr>
              <a:t>: Number of people employed in Retail </a:t>
            </a:r>
            <a:r>
              <a:rPr lang="en-AU" altLang="en-US" sz="1050">
                <a:solidFill>
                  <a:srgbClr val="75787B"/>
                </a:solidFill>
                <a:latin typeface="+mj-lt"/>
                <a:ea typeface="Verdana" panose="020B0604030504040204" pitchFamily="34" charset="0"/>
                <a:cs typeface="Open Sans Light" panose="020B0306030504020204" pitchFamily="34" charset="0"/>
              </a:rPr>
              <a:t>trade (000s)</a:t>
            </a:r>
            <a:endParaRPr kumimoji="0" lang="en-AU" altLang="en-US" sz="1050" i="0" u="none" strike="noStrike" cap="none" normalizeH="0" baseline="0">
              <a:ln>
                <a:noFill/>
              </a:ln>
              <a:solidFill>
                <a:schemeClr val="tx1"/>
              </a:solidFill>
              <a:effectLst/>
              <a:latin typeface="+mj-l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AU" altLang="en-US" sz="1050" b="0" i="0" u="none" strike="noStrike" cap="none" normalizeH="0" baseline="0">
              <a:ln>
                <a:noFill/>
              </a:ln>
              <a:solidFill>
                <a:schemeClr val="tx1"/>
              </a:solidFill>
              <a:effectLst/>
              <a:latin typeface="+mj-lt"/>
            </a:endParaRPr>
          </a:p>
        </p:txBody>
      </p:sp>
      <p:sp>
        <p:nvSpPr>
          <p:cNvPr id="6" name="Rectangle 3">
            <a:extLst>
              <a:ext uri="{FF2B5EF4-FFF2-40B4-BE49-F238E27FC236}">
                <a16:creationId xmlns:a16="http://schemas.microsoft.com/office/drawing/2014/main" id="{4F1414B2-61B5-C106-4E1C-5A36EBA95C94}"/>
              </a:ext>
            </a:extLst>
          </p:cNvPr>
          <p:cNvSpPr>
            <a:spLocks noChangeArrowheads="1"/>
          </p:cNvSpPr>
          <p:nvPr/>
        </p:nvSpPr>
        <p:spPr bwMode="auto">
          <a:xfrm>
            <a:off x="6173661" y="6047107"/>
            <a:ext cx="5506353"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AU" altLang="en-US" sz="800" b="0" i="1" u="none" strike="noStrike" cap="none" normalizeH="0" baseline="0">
                <a:ln>
                  <a:noFill/>
                </a:ln>
                <a:solidFill>
                  <a:srgbClr val="75787B"/>
                </a:solidFill>
                <a:effectLst/>
                <a:latin typeface="+mj-lt"/>
                <a:ea typeface="Verdana" panose="020B0604030504040204" pitchFamily="34" charset="0"/>
                <a:cs typeface="Open Sans Light" panose="020B0306030504020204" pitchFamily="34" charset="0"/>
              </a:rPr>
              <a:t>Source</a:t>
            </a:r>
            <a:r>
              <a:rPr lang="en-AU" altLang="en-US" sz="800" i="1">
                <a:solidFill>
                  <a:srgbClr val="75787B"/>
                </a:solidFill>
                <a:latin typeface="+mj-lt"/>
                <a:ea typeface="Verdana" panose="020B0604030504040204" pitchFamily="34" charset="0"/>
                <a:cs typeface="Open Sans Light" panose="020B0306030504020204" pitchFamily="34" charset="0"/>
              </a:rPr>
              <a:t>: ABS Labour Force Survey; ABS Job Vacancies; Deloitte Access Economics.</a:t>
            </a:r>
            <a:br>
              <a:rPr lang="en-AU" altLang="en-US" sz="800" i="1">
                <a:solidFill>
                  <a:srgbClr val="75787B"/>
                </a:solidFill>
                <a:latin typeface="+mj-lt"/>
                <a:ea typeface="Verdana" panose="020B0604030504040204" pitchFamily="34" charset="0"/>
                <a:cs typeface="Open Sans Light" panose="020B0306030504020204" pitchFamily="34" charset="0"/>
              </a:rPr>
            </a:br>
            <a:r>
              <a:rPr lang="en-AU" altLang="en-US" sz="800" i="1">
                <a:solidFill>
                  <a:srgbClr val="75787B"/>
                </a:solidFill>
                <a:latin typeface="+mj-lt"/>
                <a:ea typeface="Verdana" panose="020B0604030504040204" pitchFamily="34" charset="0"/>
                <a:cs typeface="Open Sans Light" panose="020B0306030504020204" pitchFamily="34" charset="0"/>
              </a:rPr>
              <a:t>Note: The Australian jobs gap is calculated as the sum of labour demand (job vacancies and employment) from which labour supply (labour force) is subtracted and shown as a share of labour supply.</a:t>
            </a:r>
            <a:endParaRPr kumimoji="0" lang="en-AU" altLang="en-US" sz="800" b="0" i="1" u="none" strike="noStrike" cap="none" normalizeH="0" baseline="0">
              <a:ln>
                <a:noFill/>
              </a:ln>
              <a:solidFill>
                <a:schemeClr val="tx1"/>
              </a:solidFill>
              <a:effectLst/>
              <a:latin typeface="+mj-lt"/>
            </a:endParaRPr>
          </a:p>
        </p:txBody>
      </p:sp>
      <p:sp>
        <p:nvSpPr>
          <p:cNvPr id="13" name="Title 1">
            <a:extLst>
              <a:ext uri="{FF2B5EF4-FFF2-40B4-BE49-F238E27FC236}">
                <a16:creationId xmlns:a16="http://schemas.microsoft.com/office/drawing/2014/main" id="{9D6828D8-0330-D245-2B78-6A9769D7761C}"/>
              </a:ext>
            </a:extLst>
          </p:cNvPr>
          <p:cNvSpPr txBox="1">
            <a:spLocks/>
          </p:cNvSpPr>
          <p:nvPr/>
        </p:nvSpPr>
        <p:spPr bwMode="gray">
          <a:xfrm>
            <a:off x="424972" y="157151"/>
            <a:ext cx="11339211" cy="349686"/>
          </a:xfrm>
          <a:prstGeom prst="rect">
            <a:avLst/>
          </a:prstGeom>
        </p:spPr>
        <p:txBody>
          <a:bodyPr vert="horz" lIns="0" tIns="0" rIns="0" bIns="0" rtlCol="0" anchor="t" anchorCtr="0">
            <a:normAutofit fontScale="97500"/>
          </a:bodyPr>
          <a:lstStyle>
            <a:lvl1pPr algn="l" defTabSz="895328" rtl="0" eaLnBrk="1" latinLnBrk="0" hangingPunct="1">
              <a:spcBef>
                <a:spcPct val="0"/>
              </a:spcBef>
              <a:buNone/>
              <a:defRPr sz="1808" kern="1200">
                <a:solidFill>
                  <a:schemeClr val="tx1"/>
                </a:solidFill>
                <a:latin typeface="+mj-lt"/>
                <a:ea typeface="+mj-ea"/>
                <a:cs typeface="+mj-cs"/>
              </a:defRPr>
            </a:lvl1pPr>
          </a:lstStyle>
          <a:p>
            <a:pPr>
              <a:lnSpc>
                <a:spcPct val="120000"/>
              </a:lnSpc>
            </a:pPr>
            <a:r>
              <a:rPr lang="en-AU" sz="1100" b="1" spc="600">
                <a:solidFill>
                  <a:schemeClr val="bg1">
                    <a:lumMod val="85000"/>
                  </a:schemeClr>
                </a:solidFill>
              </a:rPr>
              <a:t>LABOUR MARKET</a:t>
            </a:r>
            <a:endParaRPr lang="en-US" sz="700" b="1" spc="600">
              <a:solidFill>
                <a:schemeClr val="bg1">
                  <a:lumMod val="85000"/>
                </a:schemeClr>
              </a:solidFill>
            </a:endParaRPr>
          </a:p>
        </p:txBody>
      </p:sp>
      <p:graphicFrame>
        <p:nvGraphicFramePr>
          <p:cNvPr id="17" name="Table 15">
            <a:extLst>
              <a:ext uri="{FF2B5EF4-FFF2-40B4-BE49-F238E27FC236}">
                <a16:creationId xmlns:a16="http://schemas.microsoft.com/office/drawing/2014/main" id="{7453D751-77E1-75E5-5AB8-FD2C15B8200C}"/>
              </a:ext>
            </a:extLst>
          </p:cNvPr>
          <p:cNvGraphicFramePr>
            <a:graphicFrameLocks noGrp="1"/>
          </p:cNvGraphicFramePr>
          <p:nvPr>
            <p:extLst>
              <p:ext uri="{D42A27DB-BD31-4B8C-83A1-F6EECF244321}">
                <p14:modId xmlns:p14="http://schemas.microsoft.com/office/powerpoint/2010/main" val="4083939318"/>
              </p:ext>
            </p:extLst>
          </p:nvPr>
        </p:nvGraphicFramePr>
        <p:xfrm>
          <a:off x="387320" y="480293"/>
          <a:ext cx="11292695" cy="396240"/>
        </p:xfrm>
        <a:graphic>
          <a:graphicData uri="http://schemas.openxmlformats.org/drawingml/2006/table">
            <a:tbl>
              <a:tblPr firstRow="1" bandRow="1">
                <a:tableStyleId>{5C22544A-7EE6-4342-B048-85BDC9FD1C3A}</a:tableStyleId>
              </a:tblPr>
              <a:tblGrid>
                <a:gridCol w="11292695">
                  <a:extLst>
                    <a:ext uri="{9D8B030D-6E8A-4147-A177-3AD203B41FA5}">
                      <a16:colId xmlns:a16="http://schemas.microsoft.com/office/drawing/2014/main" val="1216123402"/>
                    </a:ext>
                  </a:extLst>
                </a:gridCol>
              </a:tblGrid>
              <a:tr h="370840">
                <a:tc>
                  <a:txBody>
                    <a:bodyPr/>
                    <a:lstStyle/>
                    <a:p>
                      <a:r>
                        <a:rPr lang="en-AU" sz="2000" b="1" kern="1200">
                          <a:solidFill>
                            <a:schemeClr val="bg1">
                              <a:lumMod val="50000"/>
                            </a:schemeClr>
                          </a:solidFill>
                          <a:effectLst/>
                          <a:latin typeface="Open Sans" panose="020B0606030504020204" pitchFamily="34" charset="0"/>
                          <a:ea typeface="Open Sans" panose="020B0606030504020204" pitchFamily="34" charset="0"/>
                          <a:cs typeface="Open Sans" panose="020B0606030504020204" pitchFamily="34" charset="0"/>
                        </a:rPr>
                        <a:t>Employment growth remains strong, but this largely reflects the non-market sector</a:t>
                      </a:r>
                      <a:endParaRPr lang="en-AU" sz="2000" b="1" kern="1200" dirty="0">
                        <a:solidFill>
                          <a:schemeClr val="bg1">
                            <a:lumMod val="50000"/>
                          </a:schemeClr>
                        </a:solidFill>
                        <a:effectLst/>
                        <a:latin typeface="Open Sans" panose="020B0606030504020204" pitchFamily="34" charset="0"/>
                        <a:ea typeface="Open Sans" panose="020B0606030504020204" pitchFamily="34" charset="0"/>
                        <a:cs typeface="Open Sans" panose="020B0606030504020204" pitchFamily="34" charset="0"/>
                      </a:endParaRPr>
                    </a:p>
                  </a:txBody>
                  <a:tcPr>
                    <a:lnB w="28575"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val="237313093"/>
                  </a:ext>
                </a:extLst>
              </a:tr>
            </a:tbl>
          </a:graphicData>
        </a:graphic>
      </p:graphicFrame>
      <p:sp>
        <p:nvSpPr>
          <p:cNvPr id="9" name="Rectangle 8">
            <a:extLst>
              <a:ext uri="{FF2B5EF4-FFF2-40B4-BE49-F238E27FC236}">
                <a16:creationId xmlns:a16="http://schemas.microsoft.com/office/drawing/2014/main" id="{F372AA74-B6E7-2948-9E8F-6D098DE22E75}"/>
              </a:ext>
            </a:extLst>
          </p:cNvPr>
          <p:cNvSpPr>
            <a:spLocks noChangeArrowheads="1"/>
          </p:cNvSpPr>
          <p:nvPr/>
        </p:nvSpPr>
        <p:spPr bwMode="auto">
          <a:xfrm>
            <a:off x="346996" y="2846084"/>
            <a:ext cx="4358332"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AU" altLang="en-US" sz="1050" i="0" u="none" strike="noStrike" cap="none" normalizeH="0" baseline="0">
                <a:ln>
                  <a:noFill/>
                </a:ln>
                <a:solidFill>
                  <a:srgbClr val="75787B"/>
                </a:solidFill>
                <a:effectLst/>
                <a:latin typeface="+mj-lt"/>
                <a:ea typeface="Verdana" panose="020B0604030504040204" pitchFamily="34" charset="0"/>
                <a:cs typeface="Open Sans Light" panose="020B0306030504020204" pitchFamily="34" charset="0"/>
              </a:rPr>
              <a:t>Chart </a:t>
            </a:r>
            <a:r>
              <a:rPr kumimoji="0" lang="en-AU" altLang="en-US" sz="1050" i="0" u="none" strike="noStrike" cap="none" normalizeH="0" baseline="0" dirty="0">
                <a:ln>
                  <a:noFill/>
                </a:ln>
                <a:solidFill>
                  <a:srgbClr val="75787B"/>
                </a:solidFill>
                <a:effectLst/>
                <a:latin typeface="+mj-lt"/>
                <a:ea typeface="Verdana" panose="020B0604030504040204" pitchFamily="34" charset="0"/>
                <a:cs typeface="Open Sans Light" panose="020B0306030504020204" pitchFamily="34" charset="0"/>
              </a:rPr>
              <a:t>12</a:t>
            </a:r>
            <a:r>
              <a:rPr kumimoji="0" lang="en-AU" altLang="en-US" sz="1050" i="0" u="none" strike="noStrike" cap="none" normalizeH="0" baseline="0">
                <a:ln>
                  <a:noFill/>
                </a:ln>
                <a:solidFill>
                  <a:srgbClr val="75787B"/>
                </a:solidFill>
                <a:effectLst/>
                <a:latin typeface="+mj-lt"/>
                <a:ea typeface="Verdana" panose="020B0604030504040204" pitchFamily="34" charset="0"/>
                <a:cs typeface="Open Sans Light" panose="020B0306030504020204" pitchFamily="34" charset="0"/>
              </a:rPr>
              <a:t>: Employed persons, annual change (000s)</a:t>
            </a:r>
            <a:endParaRPr kumimoji="0" lang="en-AU" altLang="en-US" sz="1050" i="0" u="none" strike="noStrike" cap="none" normalizeH="0" baseline="0">
              <a:ln>
                <a:noFill/>
              </a:ln>
              <a:solidFill>
                <a:schemeClr val="tx1"/>
              </a:solidFill>
              <a:effectLst/>
              <a:latin typeface="+mj-l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AU" altLang="en-US" sz="1050" b="0" i="0" u="none" strike="noStrike" cap="none" normalizeH="0" baseline="0">
              <a:ln>
                <a:noFill/>
              </a:ln>
              <a:solidFill>
                <a:schemeClr val="tx1"/>
              </a:solidFill>
              <a:effectLst/>
              <a:latin typeface="+mj-lt"/>
            </a:endParaRPr>
          </a:p>
        </p:txBody>
      </p:sp>
      <p:sp>
        <p:nvSpPr>
          <p:cNvPr id="10" name="Rectangle 3">
            <a:extLst>
              <a:ext uri="{FF2B5EF4-FFF2-40B4-BE49-F238E27FC236}">
                <a16:creationId xmlns:a16="http://schemas.microsoft.com/office/drawing/2014/main" id="{B30E4FCF-6C01-6DC6-465D-2C36E6590F45}"/>
              </a:ext>
            </a:extLst>
          </p:cNvPr>
          <p:cNvSpPr>
            <a:spLocks noChangeArrowheads="1"/>
          </p:cNvSpPr>
          <p:nvPr/>
        </p:nvSpPr>
        <p:spPr bwMode="auto">
          <a:xfrm>
            <a:off x="424973" y="6229350"/>
            <a:ext cx="4921726" cy="2178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AU" altLang="en-US" sz="800" b="0" i="1" u="none" strike="noStrike" cap="none" normalizeH="0" baseline="0">
                <a:ln>
                  <a:noFill/>
                </a:ln>
                <a:solidFill>
                  <a:srgbClr val="75787B"/>
                </a:solidFill>
                <a:effectLst/>
                <a:latin typeface="+mj-lt"/>
                <a:ea typeface="Verdana" panose="020B0604030504040204" pitchFamily="34" charset="0"/>
                <a:cs typeface="Open Sans Light" panose="020B0306030504020204" pitchFamily="34" charset="0"/>
              </a:rPr>
              <a:t>Source</a:t>
            </a:r>
            <a:r>
              <a:rPr lang="en-AU" altLang="en-US" sz="800" i="1">
                <a:solidFill>
                  <a:srgbClr val="75787B"/>
                </a:solidFill>
                <a:latin typeface="+mj-lt"/>
                <a:ea typeface="Verdana" panose="020B0604030504040204" pitchFamily="34" charset="0"/>
                <a:cs typeface="Open Sans Light" panose="020B0306030504020204" pitchFamily="34" charset="0"/>
              </a:rPr>
              <a:t>: ABS Labour Account; Deloitte Access Economics.</a:t>
            </a:r>
            <a:endParaRPr kumimoji="0" lang="en-AU" altLang="en-US" sz="800" b="0" i="1" u="none" strike="noStrike" cap="none" normalizeH="0" baseline="0">
              <a:ln>
                <a:noFill/>
              </a:ln>
              <a:solidFill>
                <a:schemeClr val="tx1"/>
              </a:solidFill>
              <a:effectLst/>
              <a:latin typeface="+mj-lt"/>
            </a:endParaRPr>
          </a:p>
        </p:txBody>
      </p:sp>
      <p:graphicFrame>
        <p:nvGraphicFramePr>
          <p:cNvPr id="2" name="Chart 1">
            <a:extLst>
              <a:ext uri="{FF2B5EF4-FFF2-40B4-BE49-F238E27FC236}">
                <a16:creationId xmlns:a16="http://schemas.microsoft.com/office/drawing/2014/main" id="{FD39B677-FE50-B3B9-7742-AD0558582F31}"/>
              </a:ext>
            </a:extLst>
          </p:cNvPr>
          <p:cNvGraphicFramePr>
            <a:graphicFrameLocks/>
          </p:cNvGraphicFramePr>
          <p:nvPr/>
        </p:nvGraphicFramePr>
        <p:xfrm>
          <a:off x="424972" y="3114674"/>
          <a:ext cx="5506353" cy="311467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a:extLst>
              <a:ext uri="{FF2B5EF4-FFF2-40B4-BE49-F238E27FC236}">
                <a16:creationId xmlns:a16="http://schemas.microsoft.com/office/drawing/2014/main" id="{B1A5DB2C-031C-EEF4-E5AC-69AA4BD287EB}"/>
              </a:ext>
            </a:extLst>
          </p:cNvPr>
          <p:cNvGraphicFramePr>
            <a:graphicFrameLocks/>
          </p:cNvGraphicFramePr>
          <p:nvPr>
            <p:extLst>
              <p:ext uri="{D42A27DB-BD31-4B8C-83A1-F6EECF244321}">
                <p14:modId xmlns:p14="http://schemas.microsoft.com/office/powerpoint/2010/main" val="2952742408"/>
              </p:ext>
            </p:extLst>
          </p:nvPr>
        </p:nvGraphicFramePr>
        <p:xfrm>
          <a:off x="6094576" y="3061527"/>
          <a:ext cx="5585437" cy="298558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7354566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EMPLAFYSLIDEID" val="63674680860958268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Deloitte">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oposal (print).potx" id="{E45B778A-39F9-462A-8DB8-EE5148C425B8}" vid="{9FD99013-1F1C-4317-AAD3-7B13D2FB964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515BEA678E19B46974F48ACAA50C6FF" ma:contentTypeVersion="13" ma:contentTypeDescription="Create a new document." ma:contentTypeScope="" ma:versionID="d86d13e97ab0c5c26452af123f38a76c">
  <xsd:schema xmlns:xsd="http://www.w3.org/2001/XMLSchema" xmlns:xs="http://www.w3.org/2001/XMLSchema" xmlns:p="http://schemas.microsoft.com/office/2006/metadata/properties" xmlns:ns2="83ed8820-3102-4feb-8871-1d489da74541" xmlns:ns3="87294138-b00a-4e7b-b1ee-e59470a1ad18" targetNamespace="http://schemas.microsoft.com/office/2006/metadata/properties" ma:root="true" ma:fieldsID="82a99bf47b7b935c4508bd95c29862a3" ns2:_="" ns3:_="">
    <xsd:import namespace="83ed8820-3102-4feb-8871-1d489da74541"/>
    <xsd:import namespace="87294138-b00a-4e7b-b1ee-e59470a1ad18"/>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element ref="ns2:lcf76f155ced4ddcb4097134ff3c332f" minOccurs="0"/>
                <xsd:element ref="ns3:TaxCatchAll" minOccurs="0"/>
                <xsd:element ref="ns2:MediaServiceGenerationTime" minOccurs="0"/>
                <xsd:element ref="ns2:MediaServiceEventHashCode" minOccurs="0"/>
                <xsd:element ref="ns2:MediaLengthInSecond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ed8820-3102-4feb-8871-1d489da7454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DateTaken" ma:index="20"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7294138-b00a-4e7b-b1ee-e59470a1ad18"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d4dc661e-5f15-4910-9f0c-351fedd96686}" ma:internalName="TaxCatchAll" ma:showField="CatchAllData" ma:web="87294138-b00a-4e7b-b1ee-e59470a1ad1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87294138-b00a-4e7b-b1ee-e59470a1ad18">
      <UserInfo>
        <DisplayName>Rumbens, David</DisplayName>
        <AccountId>27</AccountId>
        <AccountType/>
      </UserInfo>
      <UserInfo>
        <DisplayName>Guthrie, Sam</DisplayName>
        <AccountId>83</AccountId>
        <AccountType/>
      </UserInfo>
      <UserInfo>
        <DisplayName>Gunnion, Lester</DisplayName>
        <AccountId>45</AccountId>
        <AccountType/>
      </UserInfo>
      <UserInfo>
        <DisplayName>Cutter, Shannon</DisplayName>
        <AccountId>28</AccountId>
        <AccountType/>
      </UserInfo>
    </SharedWithUsers>
    <TaxCatchAll xmlns="87294138-b00a-4e7b-b1ee-e59470a1ad18" xsi:nil="true"/>
    <lcf76f155ced4ddcb4097134ff3c332f xmlns="83ed8820-3102-4feb-8871-1d489da74541">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08FFB92A-0664-4BFF-89C4-B902FDD698E4}">
  <ds:schemaRefs>
    <ds:schemaRef ds:uri="83ed8820-3102-4feb-8871-1d489da74541"/>
    <ds:schemaRef ds:uri="87294138-b00a-4e7b-b1ee-e59470a1ad1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90262505-412B-49EB-95AA-386FA9EB1776}">
  <ds:schemaRefs>
    <ds:schemaRef ds:uri="http://schemas.microsoft.com/sharepoint/v3/contenttype/forms"/>
  </ds:schemaRefs>
</ds:datastoreItem>
</file>

<file path=customXml/itemProps3.xml><?xml version="1.0" encoding="utf-8"?>
<ds:datastoreItem xmlns:ds="http://schemas.openxmlformats.org/officeDocument/2006/customXml" ds:itemID="{88D5A359-9BA4-4ADA-86F7-E7BCF8847127}">
  <ds:schemaRefs>
    <ds:schemaRef ds:uri="http://schemas.microsoft.com/office/2006/metadata/properties"/>
    <ds:schemaRef ds:uri="http://schemas.microsoft.com/office/2006/documentManagement/types"/>
    <ds:schemaRef ds:uri="http://schemas.openxmlformats.org/package/2006/metadata/core-properties"/>
    <ds:schemaRef ds:uri="http://www.w3.org/XML/1998/namespace"/>
    <ds:schemaRef ds:uri="http://purl.org/dc/terms/"/>
    <ds:schemaRef ds:uri="http://purl.org/dc/dcmitype/"/>
    <ds:schemaRef ds:uri="http://schemas.microsoft.com/office/infopath/2007/PartnerControls"/>
    <ds:schemaRef ds:uri="87294138-b00a-4e7b-b1ee-e59470a1ad18"/>
    <ds:schemaRef ds:uri="83ed8820-3102-4feb-8871-1d489da74541"/>
    <ds:schemaRef ds:uri="http://purl.org/dc/elements/1.1/"/>
  </ds:schemaRefs>
</ds:datastoreItem>
</file>

<file path=docProps/app.xml><?xml version="1.0" encoding="utf-8"?>
<Properties xmlns="http://schemas.openxmlformats.org/officeDocument/2006/extended-properties" xmlns:vt="http://schemas.openxmlformats.org/officeDocument/2006/docPropsVTypes">
  <TotalTime>0</TotalTime>
  <Words>1746</Words>
  <Application>Microsoft Office PowerPoint</Application>
  <PresentationFormat>Widescreen</PresentationFormat>
  <Paragraphs>118</Paragraphs>
  <Slides>13</Slides>
  <Notes>1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0" baseType="lpstr">
      <vt:lpstr>Arial</vt:lpstr>
      <vt:lpstr>Open Sans</vt:lpstr>
      <vt:lpstr>Open Sans Light</vt:lpstr>
      <vt:lpstr>Verdana</vt:lpstr>
      <vt:lpstr>Wingdings</vt:lpstr>
      <vt:lpstr>Blank</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loitte AU</dc:creator>
  <cp:lastModifiedBy>Rumbens, David</cp:lastModifiedBy>
  <cp:revision>1</cp:revision>
  <dcterms:modified xsi:type="dcterms:W3CDTF">2024-11-12T05:54: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ustomerId">
    <vt:lpwstr>deloitteaus</vt:lpwstr>
  </property>
  <property fmtid="{D5CDD505-2E9C-101B-9397-08002B2CF9AE}" pid="3" name="TemplateId">
    <vt:lpwstr>636736312841018886</vt:lpwstr>
  </property>
  <property fmtid="{D5CDD505-2E9C-101B-9397-08002B2CF9AE}" pid="4" name="UserProfileId">
    <vt:lpwstr>636124276613190897</vt:lpwstr>
  </property>
  <property fmtid="{D5CDD505-2E9C-101B-9397-08002B2CF9AE}" pid="5" name="MSIP_Label_ea60d57e-af5b-4752-ac57-3e4f28ca11dc_Enabled">
    <vt:lpwstr>true</vt:lpwstr>
  </property>
  <property fmtid="{D5CDD505-2E9C-101B-9397-08002B2CF9AE}" pid="6" name="MSIP_Label_ea60d57e-af5b-4752-ac57-3e4f28ca11dc_SetDate">
    <vt:lpwstr>2022-04-08T00:28:40Z</vt:lpwstr>
  </property>
  <property fmtid="{D5CDD505-2E9C-101B-9397-08002B2CF9AE}" pid="7" name="MSIP_Label_ea60d57e-af5b-4752-ac57-3e4f28ca11dc_Method">
    <vt:lpwstr>Privileged</vt:lpwstr>
  </property>
  <property fmtid="{D5CDD505-2E9C-101B-9397-08002B2CF9AE}" pid="8" name="MSIP_Label_ea60d57e-af5b-4752-ac57-3e4f28ca11dc_Name">
    <vt:lpwstr>ea60d57e-af5b-4752-ac57-3e4f28ca11dc</vt:lpwstr>
  </property>
  <property fmtid="{D5CDD505-2E9C-101B-9397-08002B2CF9AE}" pid="9" name="MSIP_Label_ea60d57e-af5b-4752-ac57-3e4f28ca11dc_SiteId">
    <vt:lpwstr>36da45f1-dd2c-4d1f-af13-5abe46b99921</vt:lpwstr>
  </property>
  <property fmtid="{D5CDD505-2E9C-101B-9397-08002B2CF9AE}" pid="10" name="MSIP_Label_ea60d57e-af5b-4752-ac57-3e4f28ca11dc_ActionId">
    <vt:lpwstr>3350edd3-1b40-4749-8dc6-509a7742bf36</vt:lpwstr>
  </property>
  <property fmtid="{D5CDD505-2E9C-101B-9397-08002B2CF9AE}" pid="11" name="MSIP_Label_ea60d57e-af5b-4752-ac57-3e4f28ca11dc_ContentBits">
    <vt:lpwstr>0</vt:lpwstr>
  </property>
  <property fmtid="{D5CDD505-2E9C-101B-9397-08002B2CF9AE}" pid="12" name="ContentTypeId">
    <vt:lpwstr>0x010100C515BEA678E19B46974F48ACAA50C6FF</vt:lpwstr>
  </property>
  <property fmtid="{D5CDD505-2E9C-101B-9397-08002B2CF9AE}" pid="13" name="MediaServiceImageTags">
    <vt:lpwstr/>
  </property>
</Properties>
</file>